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notesSlides/notesSlide1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0.xml" ContentType="application/vnd.openxmlformats-officedocument.presentationml.notesSlide+xml"/>
  <Override PartName="/ppt/tags/tag45.xml" ContentType="application/vnd.openxmlformats-officedocument.presentationml.tags+xml"/>
  <Override PartName="/ppt/notesSlides/notesSlide3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3.xml" ContentType="application/vnd.openxmlformats-officedocument.presentationml.notesSlide+xml"/>
  <Override PartName="/ppt/tags/tag50.xml" ContentType="application/vnd.openxmlformats-officedocument.presentationml.tags+xml"/>
  <Override PartName="/ppt/notesSlides/notesSlide3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7.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4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4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4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4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4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4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4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47.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49.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50.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5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52.xml" ContentType="application/vnd.openxmlformats-officedocument.presentationml.notesSlide+xml"/>
  <Override PartName="/ppt/tags/tag87.xml" ContentType="application/vnd.openxmlformats-officedocument.presentationml.tags+xml"/>
  <Override PartName="/ppt/notesSlides/notesSlide53.xml" ContentType="application/vnd.openxmlformats-officedocument.presentationml.notesSlide+xml"/>
  <Override PartName="/ppt/tags/tag88.xml" ContentType="application/vnd.openxmlformats-officedocument.presentationml.tags+xml"/>
  <Override PartName="/ppt/notesSlides/notesSlide54.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55.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56.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57.xml" ContentType="application/vnd.openxmlformats-officedocument.presentationml.notesSlide+xml"/>
  <Override PartName="/ppt/tags/tag95.xml" ContentType="application/vnd.openxmlformats-officedocument.presentationml.tags+xml"/>
  <Override PartName="/ppt/notesSlides/notesSlide58.xml" ContentType="application/vnd.openxmlformats-officedocument.presentationml.notesSlide+xml"/>
  <Override PartName="/ppt/tags/tag96.xml" ContentType="application/vnd.openxmlformats-officedocument.presentationml.tags+xml"/>
  <Override PartName="/ppt/notesSlides/notesSlide59.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60.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61.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62.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63.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64.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6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66.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67.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68.xml" ContentType="application/vnd.openxmlformats-officedocument.presentationml.notesSlide+xml"/>
  <Override PartName="/ppt/tags/tag115.xml" ContentType="application/vnd.openxmlformats-officedocument.presentationml.tags+xml"/>
  <Override PartName="/ppt/notesSlides/notesSlide69.xml" ContentType="application/vnd.openxmlformats-officedocument.presentationml.notesSlide+xml"/>
  <Override PartName="/ppt/tags/tag116.xml" ContentType="application/vnd.openxmlformats-officedocument.presentationml.tags+xml"/>
  <Override PartName="/ppt/notesSlides/notesSlide70.xml" ContentType="application/vnd.openxmlformats-officedocument.presentationml.notesSlide+xml"/>
  <Override PartName="/ppt/tags/tag117.xml" ContentType="application/vnd.openxmlformats-officedocument.presentationml.tags+xml"/>
  <Override PartName="/ppt/notesSlides/notesSlide71.xml" ContentType="application/vnd.openxmlformats-officedocument.presentationml.notesSlide+xml"/>
  <Override PartName="/ppt/tags/tag118.xml" ContentType="application/vnd.openxmlformats-officedocument.presentationml.tags+xml"/>
  <Override PartName="/ppt/notesSlides/notesSlide7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46"/>
  </p:sldMasterIdLst>
  <p:notesMasterIdLst>
    <p:notesMasterId r:id="rId119"/>
  </p:notesMasterIdLst>
  <p:sldIdLst>
    <p:sldId id="2147469909" r:id="rId47"/>
    <p:sldId id="2147469910" r:id="rId48"/>
    <p:sldId id="2147469902" r:id="rId49"/>
    <p:sldId id="2147469911" r:id="rId50"/>
    <p:sldId id="273" r:id="rId51"/>
    <p:sldId id="271" r:id="rId52"/>
    <p:sldId id="272" r:id="rId53"/>
    <p:sldId id="274" r:id="rId54"/>
    <p:sldId id="275" r:id="rId55"/>
    <p:sldId id="276" r:id="rId56"/>
    <p:sldId id="2147469912" r:id="rId57"/>
    <p:sldId id="277" r:id="rId58"/>
    <p:sldId id="2147480959" r:id="rId59"/>
    <p:sldId id="2147480958" r:id="rId60"/>
    <p:sldId id="261" r:id="rId61"/>
    <p:sldId id="263" r:id="rId62"/>
    <p:sldId id="279" r:id="rId63"/>
    <p:sldId id="280" r:id="rId64"/>
    <p:sldId id="282" r:id="rId65"/>
    <p:sldId id="281" r:id="rId66"/>
    <p:sldId id="283" r:id="rId67"/>
    <p:sldId id="2123258573" r:id="rId68"/>
    <p:sldId id="2123258574" r:id="rId69"/>
    <p:sldId id="285" r:id="rId70"/>
    <p:sldId id="286" r:id="rId71"/>
    <p:sldId id="288" r:id="rId72"/>
    <p:sldId id="287" r:id="rId73"/>
    <p:sldId id="289" r:id="rId74"/>
    <p:sldId id="2123258578" r:id="rId75"/>
    <p:sldId id="290" r:id="rId76"/>
    <p:sldId id="2147469913" r:id="rId77"/>
    <p:sldId id="293" r:id="rId78"/>
    <p:sldId id="2123258580" r:id="rId79"/>
    <p:sldId id="2147469919" r:id="rId80"/>
    <p:sldId id="294" r:id="rId81"/>
    <p:sldId id="2076137911" r:id="rId82"/>
    <p:sldId id="296" r:id="rId83"/>
    <p:sldId id="295" r:id="rId84"/>
    <p:sldId id="298" r:id="rId85"/>
    <p:sldId id="299" r:id="rId86"/>
    <p:sldId id="2123258579" r:id="rId87"/>
    <p:sldId id="297" r:id="rId88"/>
    <p:sldId id="300" r:id="rId89"/>
    <p:sldId id="302" r:id="rId90"/>
    <p:sldId id="304" r:id="rId91"/>
    <p:sldId id="303" r:id="rId92"/>
    <p:sldId id="307" r:id="rId93"/>
    <p:sldId id="308" r:id="rId94"/>
    <p:sldId id="311" r:id="rId95"/>
    <p:sldId id="312" r:id="rId96"/>
    <p:sldId id="2147480960" r:id="rId97"/>
    <p:sldId id="2147480961" r:id="rId98"/>
    <p:sldId id="315" r:id="rId99"/>
    <p:sldId id="2147469915" r:id="rId100"/>
    <p:sldId id="316" r:id="rId101"/>
    <p:sldId id="2123258575" r:id="rId102"/>
    <p:sldId id="2123258576" r:id="rId103"/>
    <p:sldId id="320" r:id="rId104"/>
    <p:sldId id="2147469916" r:id="rId105"/>
    <p:sldId id="2076137914" r:id="rId106"/>
    <p:sldId id="2076137915" r:id="rId107"/>
    <p:sldId id="2076137916" r:id="rId108"/>
    <p:sldId id="2076137917" r:id="rId109"/>
    <p:sldId id="2076137918" r:id="rId110"/>
    <p:sldId id="2076137919" r:id="rId111"/>
    <p:sldId id="2076137920" r:id="rId112"/>
    <p:sldId id="2076137921" r:id="rId113"/>
    <p:sldId id="2076137922" r:id="rId114"/>
    <p:sldId id="2147469917" r:id="rId115"/>
    <p:sldId id="266" r:id="rId116"/>
    <p:sldId id="2147469918" r:id="rId117"/>
    <p:sldId id="269" r:id="rId118"/>
  </p:sldIdLst>
  <p:sldSz cx="12192000" cy="6858000"/>
  <p:notesSz cx="6858000" cy="9144000"/>
  <p:custDataLst>
    <p:tags r:id="rId1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3B7C13-EA44-4E3F-83DE-F82BB038B5E3}" v="23" dt="2024-04-25T14:13:25.364"/>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876" y="10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71.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 Target="slides/slide1.xml"/><Relationship Id="rId63" Type="http://schemas.openxmlformats.org/officeDocument/2006/relationships/slide" Target="slides/slide17.xml"/><Relationship Id="rId68" Type="http://schemas.openxmlformats.org/officeDocument/2006/relationships/slide" Target="slides/slide22.xml"/><Relationship Id="rId84" Type="http://schemas.openxmlformats.org/officeDocument/2006/relationships/slide" Target="slides/slide38.xml"/><Relationship Id="rId89" Type="http://schemas.openxmlformats.org/officeDocument/2006/relationships/slide" Target="slides/slide43.xml"/><Relationship Id="rId112" Type="http://schemas.openxmlformats.org/officeDocument/2006/relationships/slide" Target="slides/slide66.xml"/><Relationship Id="rId16" Type="http://schemas.openxmlformats.org/officeDocument/2006/relationships/customXml" Target="../customXml/item16.xml"/><Relationship Id="rId107" Type="http://schemas.openxmlformats.org/officeDocument/2006/relationships/slide" Target="slides/slide61.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7.xml"/><Relationship Id="rId58" Type="http://schemas.openxmlformats.org/officeDocument/2006/relationships/slide" Target="slides/slide12.xml"/><Relationship Id="rId74" Type="http://schemas.openxmlformats.org/officeDocument/2006/relationships/slide" Target="slides/slide28.xml"/><Relationship Id="rId79" Type="http://schemas.openxmlformats.org/officeDocument/2006/relationships/slide" Target="slides/slide33.xml"/><Relationship Id="rId102" Type="http://schemas.openxmlformats.org/officeDocument/2006/relationships/slide" Target="slides/slide56.xml"/><Relationship Id="rId123" Type="http://schemas.openxmlformats.org/officeDocument/2006/relationships/theme" Target="theme/theme1.xml"/><Relationship Id="rId5" Type="http://schemas.openxmlformats.org/officeDocument/2006/relationships/customXml" Target="../customXml/item5.xml"/><Relationship Id="rId90" Type="http://schemas.openxmlformats.org/officeDocument/2006/relationships/slide" Target="slides/slide44.xml"/><Relationship Id="rId95" Type="http://schemas.openxmlformats.org/officeDocument/2006/relationships/slide" Target="slides/slide49.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slide" Target="slides/slide2.xml"/><Relationship Id="rId64" Type="http://schemas.openxmlformats.org/officeDocument/2006/relationships/slide" Target="slides/slide18.xml"/><Relationship Id="rId69" Type="http://schemas.openxmlformats.org/officeDocument/2006/relationships/slide" Target="slides/slide23.xml"/><Relationship Id="rId113" Type="http://schemas.openxmlformats.org/officeDocument/2006/relationships/slide" Target="slides/slide67.xml"/><Relationship Id="rId118" Type="http://schemas.openxmlformats.org/officeDocument/2006/relationships/slide" Target="slides/slide72.xml"/><Relationship Id="rId80" Type="http://schemas.openxmlformats.org/officeDocument/2006/relationships/slide" Target="slides/slide34.xml"/><Relationship Id="rId85" Type="http://schemas.openxmlformats.org/officeDocument/2006/relationships/slide" Target="slides/slide39.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slide" Target="slides/slide13.xml"/><Relationship Id="rId103" Type="http://schemas.openxmlformats.org/officeDocument/2006/relationships/slide" Target="slides/slide57.xml"/><Relationship Id="rId108" Type="http://schemas.openxmlformats.org/officeDocument/2006/relationships/slide" Target="slides/slide62.xml"/><Relationship Id="rId124" Type="http://schemas.openxmlformats.org/officeDocument/2006/relationships/tableStyles" Target="tableStyles.xml"/><Relationship Id="rId54" Type="http://schemas.openxmlformats.org/officeDocument/2006/relationships/slide" Target="slides/slide8.xml"/><Relationship Id="rId70" Type="http://schemas.openxmlformats.org/officeDocument/2006/relationships/slide" Target="slides/slide24.xml"/><Relationship Id="rId75" Type="http://schemas.openxmlformats.org/officeDocument/2006/relationships/slide" Target="slides/slide29.xml"/><Relationship Id="rId91" Type="http://schemas.openxmlformats.org/officeDocument/2006/relationships/slide" Target="slides/slide45.xml"/><Relationship Id="rId96"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slide" Target="slides/slide3.xml"/><Relationship Id="rId114" Type="http://schemas.openxmlformats.org/officeDocument/2006/relationships/slide" Target="slides/slide68.xml"/><Relationship Id="rId119" Type="http://schemas.openxmlformats.org/officeDocument/2006/relationships/notesMaster" Target="notesMasters/notesMaster1.xml"/><Relationship Id="rId44" Type="http://schemas.openxmlformats.org/officeDocument/2006/relationships/customXml" Target="../customXml/item44.xml"/><Relationship Id="rId60" Type="http://schemas.openxmlformats.org/officeDocument/2006/relationships/slide" Target="slides/slide14.xml"/><Relationship Id="rId65" Type="http://schemas.openxmlformats.org/officeDocument/2006/relationships/slide" Target="slides/slide19.xml"/><Relationship Id="rId81" Type="http://schemas.openxmlformats.org/officeDocument/2006/relationships/slide" Target="slides/slide35.xml"/><Relationship Id="rId86" Type="http://schemas.openxmlformats.org/officeDocument/2006/relationships/slide" Target="slides/slide40.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63.xml"/><Relationship Id="rId34" Type="http://schemas.openxmlformats.org/officeDocument/2006/relationships/customXml" Target="../customXml/item34.xml"/><Relationship Id="rId50" Type="http://schemas.openxmlformats.org/officeDocument/2006/relationships/slide" Target="slides/slide4.xml"/><Relationship Id="rId55" Type="http://schemas.openxmlformats.org/officeDocument/2006/relationships/slide" Target="slides/slide9.xml"/><Relationship Id="rId76" Type="http://schemas.openxmlformats.org/officeDocument/2006/relationships/slide" Target="slides/slide30.xml"/><Relationship Id="rId97" Type="http://schemas.openxmlformats.org/officeDocument/2006/relationships/slide" Target="slides/slide51.xml"/><Relationship Id="rId104" Type="http://schemas.openxmlformats.org/officeDocument/2006/relationships/slide" Target="slides/slide58.xml"/><Relationship Id="rId120" Type="http://schemas.openxmlformats.org/officeDocument/2006/relationships/tags" Target="tags/tag1.xml"/><Relationship Id="rId125" Type="http://schemas.microsoft.com/office/2016/11/relationships/changesInfo" Target="changesInfos/changesInfo1.xml"/><Relationship Id="rId7" Type="http://schemas.openxmlformats.org/officeDocument/2006/relationships/customXml" Target="../customXml/item7.xml"/><Relationship Id="rId71" Type="http://schemas.openxmlformats.org/officeDocument/2006/relationships/slide" Target="slides/slide25.xml"/><Relationship Id="rId92" Type="http://schemas.openxmlformats.org/officeDocument/2006/relationships/slide" Target="slides/slide46.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20.xml"/><Relationship Id="rId87" Type="http://schemas.openxmlformats.org/officeDocument/2006/relationships/slide" Target="slides/slide41.xml"/><Relationship Id="rId110" Type="http://schemas.openxmlformats.org/officeDocument/2006/relationships/slide" Target="slides/slide64.xml"/><Relationship Id="rId115" Type="http://schemas.openxmlformats.org/officeDocument/2006/relationships/slide" Target="slides/slide69.xml"/><Relationship Id="rId61" Type="http://schemas.openxmlformats.org/officeDocument/2006/relationships/slide" Target="slides/slide15.xml"/><Relationship Id="rId82" Type="http://schemas.openxmlformats.org/officeDocument/2006/relationships/slide" Target="slides/slide36.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10.xml"/><Relationship Id="rId77" Type="http://schemas.openxmlformats.org/officeDocument/2006/relationships/slide" Target="slides/slide31.xml"/><Relationship Id="rId100" Type="http://schemas.openxmlformats.org/officeDocument/2006/relationships/slide" Target="slides/slide54.xml"/><Relationship Id="rId105" Type="http://schemas.openxmlformats.org/officeDocument/2006/relationships/slide" Target="slides/slide59.xml"/><Relationship Id="rId126"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5.xml"/><Relationship Id="rId72" Type="http://schemas.openxmlformats.org/officeDocument/2006/relationships/slide" Target="slides/slide26.xml"/><Relationship Id="rId93" Type="http://schemas.openxmlformats.org/officeDocument/2006/relationships/slide" Target="slides/slide47.xml"/><Relationship Id="rId98" Type="http://schemas.openxmlformats.org/officeDocument/2006/relationships/slide" Target="slides/slide52.xml"/><Relationship Id="rId121"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Master" Target="slideMasters/slideMaster1.xml"/><Relationship Id="rId67" Type="http://schemas.openxmlformats.org/officeDocument/2006/relationships/slide" Target="slides/slide21.xml"/><Relationship Id="rId116" Type="http://schemas.openxmlformats.org/officeDocument/2006/relationships/slide" Target="slides/slide70.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 Target="slides/slide16.xml"/><Relationship Id="rId83" Type="http://schemas.openxmlformats.org/officeDocument/2006/relationships/slide" Target="slides/slide37.xml"/><Relationship Id="rId88" Type="http://schemas.openxmlformats.org/officeDocument/2006/relationships/slide" Target="slides/slide42.xml"/><Relationship Id="rId111" Type="http://schemas.openxmlformats.org/officeDocument/2006/relationships/slide" Target="slides/slide65.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slide" Target="slides/slide11.xml"/><Relationship Id="rId106" Type="http://schemas.openxmlformats.org/officeDocument/2006/relationships/slide" Target="slides/slide60.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 Target="slides/slide6.xml"/><Relationship Id="rId73" Type="http://schemas.openxmlformats.org/officeDocument/2006/relationships/slide" Target="slides/slide27.xml"/><Relationship Id="rId78" Type="http://schemas.openxmlformats.org/officeDocument/2006/relationships/slide" Target="slides/slide32.xml"/><Relationship Id="rId94" Type="http://schemas.openxmlformats.org/officeDocument/2006/relationships/slide" Target="slides/slide48.xml"/><Relationship Id="rId99" Type="http://schemas.openxmlformats.org/officeDocument/2006/relationships/slide" Target="slides/slide53.xml"/><Relationship Id="rId101" Type="http://schemas.openxmlformats.org/officeDocument/2006/relationships/slide" Target="slides/slide55.xml"/><Relationship Id="rId12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is Montejo" userId="55e843e1-b95f-4cc0-a457-c4d5fafa72c5" providerId="ADAL" clId="{058267A3-9B38-4D4C-9EC0-18CFE7B4B2EE}"/>
    <pc:docChg chg="modSld">
      <pc:chgData name="Moris Montejo" userId="55e843e1-b95f-4cc0-a457-c4d5fafa72c5" providerId="ADAL" clId="{058267A3-9B38-4D4C-9EC0-18CFE7B4B2EE}" dt="2023-06-09T16:55:43.213" v="28" actId="20577"/>
      <pc:docMkLst>
        <pc:docMk/>
      </pc:docMkLst>
      <pc:sldChg chg="modSp mod">
        <pc:chgData name="Moris Montejo" userId="55e843e1-b95f-4cc0-a457-c4d5fafa72c5" providerId="ADAL" clId="{058267A3-9B38-4D4C-9EC0-18CFE7B4B2EE}" dt="2023-06-09T16:55:43.213" v="28" actId="20577"/>
        <pc:sldMkLst>
          <pc:docMk/>
          <pc:sldMk cId="3553586215" sldId="2076137911"/>
        </pc:sldMkLst>
        <pc:spChg chg="mod">
          <ac:chgData name="Moris Montejo" userId="55e843e1-b95f-4cc0-a457-c4d5fafa72c5" providerId="ADAL" clId="{058267A3-9B38-4D4C-9EC0-18CFE7B4B2EE}" dt="2023-06-09T16:55:43.213" v="28" actId="20577"/>
          <ac:spMkLst>
            <pc:docMk/>
            <pc:sldMk cId="3553586215" sldId="2076137911"/>
            <ac:spMk id="2" creationId="{E0DCCC6D-05C4-4092-8C9D-AA0D46C1A281}"/>
          </ac:spMkLst>
        </pc:spChg>
      </pc:sldChg>
    </pc:docChg>
  </pc:docChgLst>
  <pc:docChgLst>
    <pc:chgData name="Pete Puustinen" userId="afdc5376-b007-4d8e-9c19-07b3fbb81413" providerId="ADAL" clId="{05B997C2-6F4D-4561-9472-42BC23D8C4C9}"/>
    <pc:docChg chg="undo custSel addSld delSld modSld sldOrd">
      <pc:chgData name="Pete Puustinen" userId="afdc5376-b007-4d8e-9c19-07b3fbb81413" providerId="ADAL" clId="{05B997C2-6F4D-4561-9472-42BC23D8C4C9}" dt="2023-05-04T16:29:42.163" v="1856" actId="20577"/>
      <pc:docMkLst>
        <pc:docMk/>
      </pc:docMkLst>
      <pc:sldChg chg="del">
        <pc:chgData name="Pete Puustinen" userId="afdc5376-b007-4d8e-9c19-07b3fbb81413" providerId="ADAL" clId="{05B997C2-6F4D-4561-9472-42BC23D8C4C9}" dt="2023-05-04T09:29:37.837" v="89" actId="47"/>
        <pc:sldMkLst>
          <pc:docMk/>
          <pc:sldMk cId="2181956486" sldId="256"/>
        </pc:sldMkLst>
      </pc:sldChg>
      <pc:sldChg chg="del">
        <pc:chgData name="Pete Puustinen" userId="afdc5376-b007-4d8e-9c19-07b3fbb81413" providerId="ADAL" clId="{05B997C2-6F4D-4561-9472-42BC23D8C4C9}" dt="2023-05-04T09:27:21.502" v="36" actId="47"/>
        <pc:sldMkLst>
          <pc:docMk/>
          <pc:sldMk cId="2242852715" sldId="257"/>
        </pc:sldMkLst>
      </pc:sldChg>
      <pc:sldChg chg="del">
        <pc:chgData name="Pete Puustinen" userId="afdc5376-b007-4d8e-9c19-07b3fbb81413" providerId="ADAL" clId="{05B997C2-6F4D-4561-9472-42BC23D8C4C9}" dt="2023-05-04T09:34:49.319" v="104" actId="47"/>
        <pc:sldMkLst>
          <pc:docMk/>
          <pc:sldMk cId="3001679096" sldId="258"/>
        </pc:sldMkLst>
      </pc:sldChg>
      <pc:sldChg chg="del">
        <pc:chgData name="Pete Puustinen" userId="afdc5376-b007-4d8e-9c19-07b3fbb81413" providerId="ADAL" clId="{05B997C2-6F4D-4561-9472-42BC23D8C4C9}" dt="2023-05-04T11:50:28.197" v="178" actId="47"/>
        <pc:sldMkLst>
          <pc:docMk/>
          <pc:sldMk cId="1635881331" sldId="259"/>
        </pc:sldMkLst>
      </pc:sldChg>
      <pc:sldChg chg="modSp mod">
        <pc:chgData name="Pete Puustinen" userId="afdc5376-b007-4d8e-9c19-07b3fbb81413" providerId="ADAL" clId="{05B997C2-6F4D-4561-9472-42BC23D8C4C9}" dt="2023-05-03T13:07:34.336" v="24" actId="1076"/>
        <pc:sldMkLst>
          <pc:docMk/>
          <pc:sldMk cId="1385431110" sldId="263"/>
        </pc:sldMkLst>
        <pc:picChg chg="mod ord">
          <ac:chgData name="Pete Puustinen" userId="afdc5376-b007-4d8e-9c19-07b3fbb81413" providerId="ADAL" clId="{05B997C2-6F4D-4561-9472-42BC23D8C4C9}" dt="2023-05-03T13:07:34.336" v="24" actId="1076"/>
          <ac:picMkLst>
            <pc:docMk/>
            <pc:sldMk cId="1385431110" sldId="263"/>
            <ac:picMk id="6" creationId="{6EC0C4F4-134F-4BD7-B971-F480F0999E7F}"/>
          </ac:picMkLst>
        </pc:picChg>
        <pc:picChg chg="mod">
          <ac:chgData name="Pete Puustinen" userId="afdc5376-b007-4d8e-9c19-07b3fbb81413" providerId="ADAL" clId="{05B997C2-6F4D-4561-9472-42BC23D8C4C9}" dt="2023-05-03T13:07:33.513" v="23" actId="1076"/>
          <ac:picMkLst>
            <pc:docMk/>
            <pc:sldMk cId="1385431110" sldId="263"/>
            <ac:picMk id="8" creationId="{A9AC66D6-830A-4B8C-B283-7BEA46B23DB6}"/>
          </ac:picMkLst>
        </pc:picChg>
      </pc:sldChg>
      <pc:sldChg chg="del">
        <pc:chgData name="Pete Puustinen" userId="afdc5376-b007-4d8e-9c19-07b3fbb81413" providerId="ADAL" clId="{05B997C2-6F4D-4561-9472-42BC23D8C4C9}" dt="2023-05-04T11:54:40.724" v="208" actId="47"/>
        <pc:sldMkLst>
          <pc:docMk/>
          <pc:sldMk cId="4145703054" sldId="265"/>
        </pc:sldMkLst>
      </pc:sldChg>
      <pc:sldChg chg="modSp add mod">
        <pc:chgData name="Pete Puustinen" userId="afdc5376-b007-4d8e-9c19-07b3fbb81413" providerId="ADAL" clId="{05B997C2-6F4D-4561-9472-42BC23D8C4C9}" dt="2023-05-04T12:23:01.825" v="470" actId="20577"/>
        <pc:sldMkLst>
          <pc:docMk/>
          <pc:sldMk cId="3977638465" sldId="266"/>
        </pc:sldMkLst>
        <pc:spChg chg="mod">
          <ac:chgData name="Pete Puustinen" userId="afdc5376-b007-4d8e-9c19-07b3fbb81413" providerId="ADAL" clId="{05B997C2-6F4D-4561-9472-42BC23D8C4C9}" dt="2023-05-04T12:23:01.825" v="470" actId="20577"/>
          <ac:spMkLst>
            <pc:docMk/>
            <pc:sldMk cId="3977638465" sldId="266"/>
            <ac:spMk id="2" creationId="{BC57B38C-8413-4861-A4F5-7DF656AEAD0D}"/>
          </ac:spMkLst>
        </pc:spChg>
        <pc:spChg chg="mod">
          <ac:chgData name="Pete Puustinen" userId="afdc5376-b007-4d8e-9c19-07b3fbb81413" providerId="ADAL" clId="{05B997C2-6F4D-4561-9472-42BC23D8C4C9}" dt="2023-05-04T12:22:39.258" v="465" actId="20577"/>
          <ac:spMkLst>
            <pc:docMk/>
            <pc:sldMk cId="3977638465" sldId="266"/>
            <ac:spMk id="14" creationId="{2044E162-68FA-4C0E-B9D3-D4C8561D02EE}"/>
          </ac:spMkLst>
        </pc:spChg>
        <pc:spChg chg="mod">
          <ac:chgData name="Pete Puustinen" userId="afdc5376-b007-4d8e-9c19-07b3fbb81413" providerId="ADAL" clId="{05B997C2-6F4D-4561-9472-42BC23D8C4C9}" dt="2023-05-04T11:54:55.045" v="209"/>
          <ac:spMkLst>
            <pc:docMk/>
            <pc:sldMk cId="3977638465" sldId="266"/>
            <ac:spMk id="17" creationId="{E243B2FB-C5E3-4E84-87ED-FB0A2A1A0F89}"/>
          </ac:spMkLst>
        </pc:spChg>
        <pc:spChg chg="mod">
          <ac:chgData name="Pete Puustinen" userId="afdc5376-b007-4d8e-9c19-07b3fbb81413" providerId="ADAL" clId="{05B997C2-6F4D-4561-9472-42BC23D8C4C9}" dt="2023-05-04T11:54:55.045" v="209"/>
          <ac:spMkLst>
            <pc:docMk/>
            <pc:sldMk cId="3977638465" sldId="266"/>
            <ac:spMk id="18" creationId="{81A9DA9D-1DBE-46E5-BC06-5CF26ACB5995}"/>
          </ac:spMkLst>
        </pc:spChg>
      </pc:sldChg>
      <pc:sldChg chg="del">
        <pc:chgData name="Pete Puustinen" userId="afdc5376-b007-4d8e-9c19-07b3fbb81413" providerId="ADAL" clId="{05B997C2-6F4D-4561-9472-42BC23D8C4C9}" dt="2023-05-04T11:48:11.143" v="168" actId="47"/>
        <pc:sldMkLst>
          <pc:docMk/>
          <pc:sldMk cId="577749242" sldId="270"/>
        </pc:sldMkLst>
      </pc:sldChg>
      <pc:sldChg chg="del">
        <pc:chgData name="Pete Puustinen" userId="afdc5376-b007-4d8e-9c19-07b3fbb81413" providerId="ADAL" clId="{05B997C2-6F4D-4561-9472-42BC23D8C4C9}" dt="2023-05-04T11:52:20.095" v="188" actId="47"/>
        <pc:sldMkLst>
          <pc:docMk/>
          <pc:sldMk cId="3043692328" sldId="278"/>
        </pc:sldMkLst>
      </pc:sldChg>
      <pc:sldChg chg="delSp modSp mod">
        <pc:chgData name="Pete Puustinen" userId="afdc5376-b007-4d8e-9c19-07b3fbb81413" providerId="ADAL" clId="{05B997C2-6F4D-4561-9472-42BC23D8C4C9}" dt="2023-05-03T13:05:34.853" v="17" actId="14100"/>
        <pc:sldMkLst>
          <pc:docMk/>
          <pc:sldMk cId="815473112" sldId="282"/>
        </pc:sldMkLst>
        <pc:spChg chg="mod">
          <ac:chgData name="Pete Puustinen" userId="afdc5376-b007-4d8e-9c19-07b3fbb81413" providerId="ADAL" clId="{05B997C2-6F4D-4561-9472-42BC23D8C4C9}" dt="2023-05-03T13:05:20.520" v="14" actId="1076"/>
          <ac:spMkLst>
            <pc:docMk/>
            <pc:sldMk cId="815473112" sldId="282"/>
            <ac:spMk id="4" creationId="{F50EE410-F528-4A45-69AD-524033A71D35}"/>
          </ac:spMkLst>
        </pc:spChg>
        <pc:spChg chg="del">
          <ac:chgData name="Pete Puustinen" userId="afdc5376-b007-4d8e-9c19-07b3fbb81413" providerId="ADAL" clId="{05B997C2-6F4D-4561-9472-42BC23D8C4C9}" dt="2023-05-03T13:04:35.244" v="2" actId="478"/>
          <ac:spMkLst>
            <pc:docMk/>
            <pc:sldMk cId="815473112" sldId="282"/>
            <ac:spMk id="5" creationId="{8DD23F33-F552-E61D-EA0C-D3668CA95109}"/>
          </ac:spMkLst>
        </pc:spChg>
        <pc:spChg chg="mod">
          <ac:chgData name="Pete Puustinen" userId="afdc5376-b007-4d8e-9c19-07b3fbb81413" providerId="ADAL" clId="{05B997C2-6F4D-4561-9472-42BC23D8C4C9}" dt="2023-05-03T13:05:24.071" v="15" actId="14100"/>
          <ac:spMkLst>
            <pc:docMk/>
            <pc:sldMk cId="815473112" sldId="282"/>
            <ac:spMk id="6" creationId="{4D666AEA-E2CC-1EAF-C769-4733A563C3E7}"/>
          </ac:spMkLst>
        </pc:spChg>
        <pc:spChg chg="mod">
          <ac:chgData name="Pete Puustinen" userId="afdc5376-b007-4d8e-9c19-07b3fbb81413" providerId="ADAL" clId="{05B997C2-6F4D-4561-9472-42BC23D8C4C9}" dt="2023-05-03T13:05:16.112" v="13" actId="1076"/>
          <ac:spMkLst>
            <pc:docMk/>
            <pc:sldMk cId="815473112" sldId="282"/>
            <ac:spMk id="17" creationId="{5D9056EC-5E6A-063A-46EF-5ADDDBC9DDD9}"/>
          </ac:spMkLst>
        </pc:spChg>
        <pc:spChg chg="mod">
          <ac:chgData name="Pete Puustinen" userId="afdc5376-b007-4d8e-9c19-07b3fbb81413" providerId="ADAL" clId="{05B997C2-6F4D-4561-9472-42BC23D8C4C9}" dt="2023-05-03T13:05:16.112" v="13" actId="1076"/>
          <ac:spMkLst>
            <pc:docMk/>
            <pc:sldMk cId="815473112" sldId="282"/>
            <ac:spMk id="18" creationId="{BF18BB57-CA80-885D-6EC7-82F7714A278C}"/>
          </ac:spMkLst>
        </pc:spChg>
        <pc:spChg chg="mod">
          <ac:chgData name="Pete Puustinen" userId="afdc5376-b007-4d8e-9c19-07b3fbb81413" providerId="ADAL" clId="{05B997C2-6F4D-4561-9472-42BC23D8C4C9}" dt="2023-05-03T13:05:34.853" v="17" actId="14100"/>
          <ac:spMkLst>
            <pc:docMk/>
            <pc:sldMk cId="815473112" sldId="282"/>
            <ac:spMk id="33" creationId="{E0245AFA-2BF1-A9E4-9F8C-F935D5E5FE17}"/>
          </ac:spMkLst>
        </pc:spChg>
        <pc:spChg chg="mod">
          <ac:chgData name="Pete Puustinen" userId="afdc5376-b007-4d8e-9c19-07b3fbb81413" providerId="ADAL" clId="{05B997C2-6F4D-4561-9472-42BC23D8C4C9}" dt="2023-05-03T13:05:29.630" v="16" actId="1076"/>
          <ac:spMkLst>
            <pc:docMk/>
            <pc:sldMk cId="815473112" sldId="282"/>
            <ac:spMk id="38" creationId="{E2AC3C43-5419-FFD4-7493-163796A512F5}"/>
          </ac:spMkLst>
        </pc:spChg>
        <pc:spChg chg="mod">
          <ac:chgData name="Pete Puustinen" userId="afdc5376-b007-4d8e-9c19-07b3fbb81413" providerId="ADAL" clId="{05B997C2-6F4D-4561-9472-42BC23D8C4C9}" dt="2023-05-03T13:05:29.630" v="16" actId="1076"/>
          <ac:spMkLst>
            <pc:docMk/>
            <pc:sldMk cId="815473112" sldId="282"/>
            <ac:spMk id="40" creationId="{E813151A-A334-616A-99D9-1CE952517A91}"/>
          </ac:spMkLst>
        </pc:spChg>
        <pc:spChg chg="mod">
          <ac:chgData name="Pete Puustinen" userId="afdc5376-b007-4d8e-9c19-07b3fbb81413" providerId="ADAL" clId="{05B997C2-6F4D-4561-9472-42BC23D8C4C9}" dt="2023-05-03T13:05:29.630" v="16" actId="1076"/>
          <ac:spMkLst>
            <pc:docMk/>
            <pc:sldMk cId="815473112" sldId="282"/>
            <ac:spMk id="41" creationId="{0EC7514F-5DDB-88D3-6C19-8B84643B588C}"/>
          </ac:spMkLst>
        </pc:spChg>
        <pc:spChg chg="mod">
          <ac:chgData name="Pete Puustinen" userId="afdc5376-b007-4d8e-9c19-07b3fbb81413" providerId="ADAL" clId="{05B997C2-6F4D-4561-9472-42BC23D8C4C9}" dt="2023-05-03T13:05:29.630" v="16" actId="1076"/>
          <ac:spMkLst>
            <pc:docMk/>
            <pc:sldMk cId="815473112" sldId="282"/>
            <ac:spMk id="42" creationId="{0D8C0C9D-9995-19B9-F7D0-71C7F11CA000}"/>
          </ac:spMkLst>
        </pc:spChg>
        <pc:spChg chg="mod">
          <ac:chgData name="Pete Puustinen" userId="afdc5376-b007-4d8e-9c19-07b3fbb81413" providerId="ADAL" clId="{05B997C2-6F4D-4561-9472-42BC23D8C4C9}" dt="2023-05-03T13:05:20.520" v="14" actId="1076"/>
          <ac:spMkLst>
            <pc:docMk/>
            <pc:sldMk cId="815473112" sldId="282"/>
            <ac:spMk id="44" creationId="{01B2EF75-B376-8DB1-4A88-05EBE991828B}"/>
          </ac:spMkLst>
        </pc:spChg>
        <pc:spChg chg="mod">
          <ac:chgData name="Pete Puustinen" userId="afdc5376-b007-4d8e-9c19-07b3fbb81413" providerId="ADAL" clId="{05B997C2-6F4D-4561-9472-42BC23D8C4C9}" dt="2023-05-03T13:05:20.520" v="14" actId="1076"/>
          <ac:spMkLst>
            <pc:docMk/>
            <pc:sldMk cId="815473112" sldId="282"/>
            <ac:spMk id="45" creationId="{179C3022-E8F3-461C-0EB9-91318B871ED7}"/>
          </ac:spMkLst>
        </pc:spChg>
        <pc:spChg chg="mod">
          <ac:chgData name="Pete Puustinen" userId="afdc5376-b007-4d8e-9c19-07b3fbb81413" providerId="ADAL" clId="{05B997C2-6F4D-4561-9472-42BC23D8C4C9}" dt="2023-05-03T13:05:20.520" v="14" actId="1076"/>
          <ac:spMkLst>
            <pc:docMk/>
            <pc:sldMk cId="815473112" sldId="282"/>
            <ac:spMk id="78" creationId="{74B96D8B-296D-8682-080A-C51BB333D072}"/>
          </ac:spMkLst>
        </pc:spChg>
        <pc:spChg chg="mod">
          <ac:chgData name="Pete Puustinen" userId="afdc5376-b007-4d8e-9c19-07b3fbb81413" providerId="ADAL" clId="{05B997C2-6F4D-4561-9472-42BC23D8C4C9}" dt="2023-05-03T13:05:20.520" v="14" actId="1076"/>
          <ac:spMkLst>
            <pc:docMk/>
            <pc:sldMk cId="815473112" sldId="282"/>
            <ac:spMk id="79" creationId="{66BEFD9C-E130-CDF3-2906-32A64E0BB594}"/>
          </ac:spMkLst>
        </pc:spChg>
        <pc:spChg chg="mod">
          <ac:chgData name="Pete Puustinen" userId="afdc5376-b007-4d8e-9c19-07b3fbb81413" providerId="ADAL" clId="{05B997C2-6F4D-4561-9472-42BC23D8C4C9}" dt="2023-05-03T13:05:20.520" v="14" actId="1076"/>
          <ac:spMkLst>
            <pc:docMk/>
            <pc:sldMk cId="815473112" sldId="282"/>
            <ac:spMk id="80" creationId="{0345303A-1F6E-5E37-670E-39110B5F3AA6}"/>
          </ac:spMkLst>
        </pc:spChg>
        <pc:spChg chg="mod">
          <ac:chgData name="Pete Puustinen" userId="afdc5376-b007-4d8e-9c19-07b3fbb81413" providerId="ADAL" clId="{05B997C2-6F4D-4561-9472-42BC23D8C4C9}" dt="2023-05-03T13:05:20.520" v="14" actId="1076"/>
          <ac:spMkLst>
            <pc:docMk/>
            <pc:sldMk cId="815473112" sldId="282"/>
            <ac:spMk id="81" creationId="{9EC1AD91-5158-E2FC-CAC5-1E2EACB60330}"/>
          </ac:spMkLst>
        </pc:spChg>
        <pc:spChg chg="mod">
          <ac:chgData name="Pete Puustinen" userId="afdc5376-b007-4d8e-9c19-07b3fbb81413" providerId="ADAL" clId="{05B997C2-6F4D-4561-9472-42BC23D8C4C9}" dt="2023-05-03T13:05:20.520" v="14" actId="1076"/>
          <ac:spMkLst>
            <pc:docMk/>
            <pc:sldMk cId="815473112" sldId="282"/>
            <ac:spMk id="82" creationId="{FCE52F6D-49E4-795F-5E99-3BFCE0F18C5C}"/>
          </ac:spMkLst>
        </pc:spChg>
        <pc:spChg chg="mod">
          <ac:chgData name="Pete Puustinen" userId="afdc5376-b007-4d8e-9c19-07b3fbb81413" providerId="ADAL" clId="{05B997C2-6F4D-4561-9472-42BC23D8C4C9}" dt="2023-05-03T13:05:20.520" v="14" actId="1076"/>
          <ac:spMkLst>
            <pc:docMk/>
            <pc:sldMk cId="815473112" sldId="282"/>
            <ac:spMk id="83" creationId="{A3B052C9-9316-7498-DEC5-4601B9E03829}"/>
          </ac:spMkLst>
        </pc:spChg>
        <pc:spChg chg="mod">
          <ac:chgData name="Pete Puustinen" userId="afdc5376-b007-4d8e-9c19-07b3fbb81413" providerId="ADAL" clId="{05B997C2-6F4D-4561-9472-42BC23D8C4C9}" dt="2023-05-03T13:05:20.520" v="14" actId="1076"/>
          <ac:spMkLst>
            <pc:docMk/>
            <pc:sldMk cId="815473112" sldId="282"/>
            <ac:spMk id="84" creationId="{88E32FF3-5E6D-242D-518F-1AE2719560BB}"/>
          </ac:spMkLst>
        </pc:spChg>
        <pc:spChg chg="mod">
          <ac:chgData name="Pete Puustinen" userId="afdc5376-b007-4d8e-9c19-07b3fbb81413" providerId="ADAL" clId="{05B997C2-6F4D-4561-9472-42BC23D8C4C9}" dt="2023-05-03T13:05:20.520" v="14" actId="1076"/>
          <ac:spMkLst>
            <pc:docMk/>
            <pc:sldMk cId="815473112" sldId="282"/>
            <ac:spMk id="85" creationId="{76B60207-DEA2-132B-6CAB-981425FA08E4}"/>
          </ac:spMkLst>
        </pc:spChg>
        <pc:spChg chg="mod">
          <ac:chgData name="Pete Puustinen" userId="afdc5376-b007-4d8e-9c19-07b3fbb81413" providerId="ADAL" clId="{05B997C2-6F4D-4561-9472-42BC23D8C4C9}" dt="2023-05-03T13:05:20.520" v="14" actId="1076"/>
          <ac:spMkLst>
            <pc:docMk/>
            <pc:sldMk cId="815473112" sldId="282"/>
            <ac:spMk id="86" creationId="{418C80F5-05BE-E07C-5B24-AC2736E25B5F}"/>
          </ac:spMkLst>
        </pc:spChg>
        <pc:grpChg chg="mod">
          <ac:chgData name="Pete Puustinen" userId="afdc5376-b007-4d8e-9c19-07b3fbb81413" providerId="ADAL" clId="{05B997C2-6F4D-4561-9472-42BC23D8C4C9}" dt="2023-05-03T13:05:16.112" v="13" actId="1076"/>
          <ac:grpSpMkLst>
            <pc:docMk/>
            <pc:sldMk cId="815473112" sldId="282"/>
            <ac:grpSpMk id="16" creationId="{C13E6372-6ED1-860F-55EE-BDABD779EE80}"/>
          </ac:grpSpMkLst>
        </pc:grpChg>
        <pc:grpChg chg="del">
          <ac:chgData name="Pete Puustinen" userId="afdc5376-b007-4d8e-9c19-07b3fbb81413" providerId="ADAL" clId="{05B997C2-6F4D-4561-9472-42BC23D8C4C9}" dt="2023-05-03T13:04:31.760" v="1" actId="478"/>
          <ac:grpSpMkLst>
            <pc:docMk/>
            <pc:sldMk cId="815473112" sldId="282"/>
            <ac:grpSpMk id="19" creationId="{59C08514-B034-C162-521B-DCC22589E9C7}"/>
          </ac:grpSpMkLst>
        </pc:grpChg>
        <pc:grpChg chg="mod">
          <ac:chgData name="Pete Puustinen" userId="afdc5376-b007-4d8e-9c19-07b3fbb81413" providerId="ADAL" clId="{05B997C2-6F4D-4561-9472-42BC23D8C4C9}" dt="2023-05-03T13:05:29.630" v="16" actId="1076"/>
          <ac:grpSpMkLst>
            <pc:docMk/>
            <pc:sldMk cId="815473112" sldId="282"/>
            <ac:grpSpMk id="37" creationId="{20A2F07F-C5F7-0559-B474-3A3DC9353FC7}"/>
          </ac:grpSpMkLst>
        </pc:grpChg>
        <pc:grpChg chg="mod">
          <ac:chgData name="Pete Puustinen" userId="afdc5376-b007-4d8e-9c19-07b3fbb81413" providerId="ADAL" clId="{05B997C2-6F4D-4561-9472-42BC23D8C4C9}" dt="2023-05-03T13:05:29.630" v="16" actId="1076"/>
          <ac:grpSpMkLst>
            <pc:docMk/>
            <pc:sldMk cId="815473112" sldId="282"/>
            <ac:grpSpMk id="39" creationId="{320C4DE4-0244-385E-22CB-36F8213C9CE7}"/>
          </ac:grpSpMkLst>
        </pc:grpChg>
        <pc:grpChg chg="mod">
          <ac:chgData name="Pete Puustinen" userId="afdc5376-b007-4d8e-9c19-07b3fbb81413" providerId="ADAL" clId="{05B997C2-6F4D-4561-9472-42BC23D8C4C9}" dt="2023-05-03T13:05:20.520" v="14" actId="1076"/>
          <ac:grpSpMkLst>
            <pc:docMk/>
            <pc:sldMk cId="815473112" sldId="282"/>
            <ac:grpSpMk id="43" creationId="{89F3E0E3-0112-C923-4A47-12F49EB1DA25}"/>
          </ac:grpSpMkLst>
        </pc:grpChg>
        <pc:grpChg chg="mod">
          <ac:chgData name="Pete Puustinen" userId="afdc5376-b007-4d8e-9c19-07b3fbb81413" providerId="ADAL" clId="{05B997C2-6F4D-4561-9472-42BC23D8C4C9}" dt="2023-05-03T13:05:20.520" v="14" actId="1076"/>
          <ac:grpSpMkLst>
            <pc:docMk/>
            <pc:sldMk cId="815473112" sldId="282"/>
            <ac:grpSpMk id="48" creationId="{4988434D-500B-15A2-438F-CCB4EA52B08F}"/>
          </ac:grpSpMkLst>
        </pc:grpChg>
        <pc:picChg chg="mod">
          <ac:chgData name="Pete Puustinen" userId="afdc5376-b007-4d8e-9c19-07b3fbb81413" providerId="ADAL" clId="{05B997C2-6F4D-4561-9472-42BC23D8C4C9}" dt="2023-05-03T13:05:02.838" v="10" actId="1076"/>
          <ac:picMkLst>
            <pc:docMk/>
            <pc:sldMk cId="815473112" sldId="282"/>
            <ac:picMk id="25" creationId="{8ACD0027-168F-AC3F-F08B-34AFE6D100CE}"/>
          </ac:picMkLst>
        </pc:picChg>
        <pc:picChg chg="del">
          <ac:chgData name="Pete Puustinen" userId="afdc5376-b007-4d8e-9c19-07b3fbb81413" providerId="ADAL" clId="{05B997C2-6F4D-4561-9472-42BC23D8C4C9}" dt="2023-05-03T13:04:28.141" v="0" actId="478"/>
          <ac:picMkLst>
            <pc:docMk/>
            <pc:sldMk cId="815473112" sldId="282"/>
            <ac:picMk id="27" creationId="{48805E3F-15A7-503E-1AB6-133BF168E52F}"/>
          </ac:picMkLst>
        </pc:picChg>
        <pc:picChg chg="mod">
          <ac:chgData name="Pete Puustinen" userId="afdc5376-b007-4d8e-9c19-07b3fbb81413" providerId="ADAL" clId="{05B997C2-6F4D-4561-9472-42BC23D8C4C9}" dt="2023-05-03T13:04:58.119" v="7" actId="1076"/>
          <ac:picMkLst>
            <pc:docMk/>
            <pc:sldMk cId="815473112" sldId="282"/>
            <ac:picMk id="31" creationId="{B62E08CB-2F84-2C09-CA40-2833AF36D680}"/>
          </ac:picMkLst>
        </pc:picChg>
        <pc:picChg chg="mod">
          <ac:chgData name="Pete Puustinen" userId="afdc5376-b007-4d8e-9c19-07b3fbb81413" providerId="ADAL" clId="{05B997C2-6F4D-4561-9472-42BC23D8C4C9}" dt="2023-05-03T13:05:08.927" v="12" actId="1076"/>
          <ac:picMkLst>
            <pc:docMk/>
            <pc:sldMk cId="815473112" sldId="282"/>
            <ac:picMk id="88" creationId="{56F1AC94-8D7B-4195-D0D3-108879E8E26D}"/>
          </ac:picMkLst>
        </pc:picChg>
        <pc:picChg chg="mod">
          <ac:chgData name="Pete Puustinen" userId="afdc5376-b007-4d8e-9c19-07b3fbb81413" providerId="ADAL" clId="{05B997C2-6F4D-4561-9472-42BC23D8C4C9}" dt="2023-05-03T13:05:07.214" v="11" actId="1076"/>
          <ac:picMkLst>
            <pc:docMk/>
            <pc:sldMk cId="815473112" sldId="282"/>
            <ac:picMk id="90" creationId="{D9A17500-58D7-42FB-66F9-E24CD0816058}"/>
          </ac:picMkLst>
        </pc:picChg>
      </pc:sldChg>
      <pc:sldChg chg="del">
        <pc:chgData name="Pete Puustinen" userId="afdc5376-b007-4d8e-9c19-07b3fbb81413" providerId="ADAL" clId="{05B997C2-6F4D-4561-9472-42BC23D8C4C9}" dt="2023-05-03T13:05:45.841" v="18" actId="47"/>
        <pc:sldMkLst>
          <pc:docMk/>
          <pc:sldMk cId="1161840212" sldId="284"/>
        </pc:sldMkLst>
      </pc:sldChg>
      <pc:sldChg chg="del">
        <pc:chgData name="Pete Puustinen" userId="afdc5376-b007-4d8e-9c19-07b3fbb81413" providerId="ADAL" clId="{05B997C2-6F4D-4561-9472-42BC23D8C4C9}" dt="2023-05-04T11:52:44.592" v="191" actId="47"/>
        <pc:sldMkLst>
          <pc:docMk/>
          <pc:sldMk cId="1570195067" sldId="291"/>
        </pc:sldMkLst>
      </pc:sldChg>
      <pc:sldChg chg="addSp delSp modSp mod">
        <pc:chgData name="Pete Puustinen" userId="afdc5376-b007-4d8e-9c19-07b3fbb81413" providerId="ADAL" clId="{05B997C2-6F4D-4561-9472-42BC23D8C4C9}" dt="2023-05-04T13:53:37.861" v="718" actId="1076"/>
        <pc:sldMkLst>
          <pc:docMk/>
          <pc:sldMk cId="619086979" sldId="295"/>
        </pc:sldMkLst>
        <pc:spChg chg="mod">
          <ac:chgData name="Pete Puustinen" userId="afdc5376-b007-4d8e-9c19-07b3fbb81413" providerId="ADAL" clId="{05B997C2-6F4D-4561-9472-42BC23D8C4C9}" dt="2023-05-04T13:52:05.380" v="702" actId="20577"/>
          <ac:spMkLst>
            <pc:docMk/>
            <pc:sldMk cId="619086979" sldId="295"/>
            <ac:spMk id="2" creationId="{E0DCCC6D-05C4-4092-8C9D-AA0D46C1A281}"/>
          </ac:spMkLst>
        </pc:spChg>
        <pc:spChg chg="add mod">
          <ac:chgData name="Pete Puustinen" userId="afdc5376-b007-4d8e-9c19-07b3fbb81413" providerId="ADAL" clId="{05B997C2-6F4D-4561-9472-42BC23D8C4C9}" dt="2023-05-04T13:53:37.861" v="718" actId="1076"/>
          <ac:spMkLst>
            <pc:docMk/>
            <pc:sldMk cId="619086979" sldId="295"/>
            <ac:spMk id="9" creationId="{51B180C9-ECB4-8DD5-653C-241573B418A6}"/>
          </ac:spMkLst>
        </pc:spChg>
        <pc:picChg chg="del">
          <ac:chgData name="Pete Puustinen" userId="afdc5376-b007-4d8e-9c19-07b3fbb81413" providerId="ADAL" clId="{05B997C2-6F4D-4561-9472-42BC23D8C4C9}" dt="2023-05-04T13:52:08.819" v="703" actId="478"/>
          <ac:picMkLst>
            <pc:docMk/>
            <pc:sldMk cId="619086979" sldId="295"/>
            <ac:picMk id="5" creationId="{0CEBEBF0-1075-4C1C-B895-7E4E7ACFCF38}"/>
          </ac:picMkLst>
        </pc:picChg>
        <pc:picChg chg="add mod">
          <ac:chgData name="Pete Puustinen" userId="afdc5376-b007-4d8e-9c19-07b3fbb81413" providerId="ADAL" clId="{05B997C2-6F4D-4561-9472-42BC23D8C4C9}" dt="2023-05-04T13:52:39.676" v="710" actId="1076"/>
          <ac:picMkLst>
            <pc:docMk/>
            <pc:sldMk cId="619086979" sldId="295"/>
            <ac:picMk id="7" creationId="{5E0CC558-D4F5-8E62-92C9-1012CB4FFDAC}"/>
          </ac:picMkLst>
        </pc:picChg>
      </pc:sldChg>
      <pc:sldChg chg="del">
        <pc:chgData name="Pete Puustinen" userId="afdc5376-b007-4d8e-9c19-07b3fbb81413" providerId="ADAL" clId="{05B997C2-6F4D-4561-9472-42BC23D8C4C9}" dt="2023-05-04T13:49:10.010" v="698" actId="47"/>
        <pc:sldMkLst>
          <pc:docMk/>
          <pc:sldMk cId="1221817818" sldId="305"/>
        </pc:sldMkLst>
      </pc:sldChg>
      <pc:sldChg chg="del">
        <pc:chgData name="Pete Puustinen" userId="afdc5376-b007-4d8e-9c19-07b3fbb81413" providerId="ADAL" clId="{05B997C2-6F4D-4561-9472-42BC23D8C4C9}" dt="2023-05-04T13:49:11.141" v="699" actId="47"/>
        <pc:sldMkLst>
          <pc:docMk/>
          <pc:sldMk cId="2389848981" sldId="306"/>
        </pc:sldMkLst>
      </pc:sldChg>
      <pc:sldChg chg="del">
        <pc:chgData name="Pete Puustinen" userId="afdc5376-b007-4d8e-9c19-07b3fbb81413" providerId="ADAL" clId="{05B997C2-6F4D-4561-9472-42BC23D8C4C9}" dt="2023-05-04T11:53:42.794" v="199" actId="47"/>
        <pc:sldMkLst>
          <pc:docMk/>
          <pc:sldMk cId="1868071303" sldId="309"/>
        </pc:sldMkLst>
      </pc:sldChg>
      <pc:sldChg chg="del">
        <pc:chgData name="Pete Puustinen" userId="afdc5376-b007-4d8e-9c19-07b3fbb81413" providerId="ADAL" clId="{05B997C2-6F4D-4561-9472-42BC23D8C4C9}" dt="2023-05-04T11:53:13.295" v="194" actId="47"/>
        <pc:sldMkLst>
          <pc:docMk/>
          <pc:sldMk cId="3108211012" sldId="310"/>
        </pc:sldMkLst>
      </pc:sldChg>
      <pc:sldChg chg="del">
        <pc:chgData name="Pete Puustinen" userId="afdc5376-b007-4d8e-9c19-07b3fbb81413" providerId="ADAL" clId="{05B997C2-6F4D-4561-9472-42BC23D8C4C9}" dt="2023-05-04T12:23:36.443" v="496" actId="47"/>
        <pc:sldMkLst>
          <pc:docMk/>
          <pc:sldMk cId="1552217223" sldId="321"/>
        </pc:sldMkLst>
      </pc:sldChg>
      <pc:sldChg chg="del">
        <pc:chgData name="Pete Puustinen" userId="afdc5376-b007-4d8e-9c19-07b3fbb81413" providerId="ADAL" clId="{05B997C2-6F4D-4561-9472-42BC23D8C4C9}" dt="2023-05-04T11:54:10.585" v="205" actId="47"/>
        <pc:sldMkLst>
          <pc:docMk/>
          <pc:sldMk cId="3890559440" sldId="2076137912"/>
        </pc:sldMkLst>
      </pc:sldChg>
      <pc:sldChg chg="del">
        <pc:chgData name="Pete Puustinen" userId="afdc5376-b007-4d8e-9c19-07b3fbb81413" providerId="ADAL" clId="{05B997C2-6F4D-4561-9472-42BC23D8C4C9}" dt="2023-05-04T12:23:35.587" v="495" actId="47"/>
        <pc:sldMkLst>
          <pc:docMk/>
          <pc:sldMk cId="813759920" sldId="2076137923"/>
        </pc:sldMkLst>
      </pc:sldChg>
      <pc:sldChg chg="add del">
        <pc:chgData name="Pete Puustinen" userId="afdc5376-b007-4d8e-9c19-07b3fbb81413" providerId="ADAL" clId="{05B997C2-6F4D-4561-9472-42BC23D8C4C9}" dt="2023-05-04T13:48:27.595" v="697" actId="47"/>
        <pc:sldMkLst>
          <pc:docMk/>
          <pc:sldMk cId="3280165222" sldId="2076138469"/>
        </pc:sldMkLst>
      </pc:sldChg>
      <pc:sldChg chg="modSp add mod">
        <pc:chgData name="Pete Puustinen" userId="afdc5376-b007-4d8e-9c19-07b3fbb81413" providerId="ADAL" clId="{05B997C2-6F4D-4561-9472-42BC23D8C4C9}" dt="2023-05-04T16:29:42.163" v="1856" actId="20577"/>
        <pc:sldMkLst>
          <pc:docMk/>
          <pc:sldMk cId="3357320843" sldId="2123258580"/>
        </pc:sldMkLst>
        <pc:spChg chg="mod">
          <ac:chgData name="Pete Puustinen" userId="afdc5376-b007-4d8e-9c19-07b3fbb81413" providerId="ADAL" clId="{05B997C2-6F4D-4561-9472-42BC23D8C4C9}" dt="2023-05-04T16:29:42.163" v="1856" actId="20577"/>
          <ac:spMkLst>
            <pc:docMk/>
            <pc:sldMk cId="3357320843" sldId="2123258580"/>
            <ac:spMk id="2" creationId="{E0DCCC6D-05C4-4092-8C9D-AA0D46C1A281}"/>
          </ac:spMkLst>
        </pc:spChg>
      </pc:sldChg>
      <pc:sldChg chg="addSp delSp modSp add del mod">
        <pc:chgData name="Pete Puustinen" userId="afdc5376-b007-4d8e-9c19-07b3fbb81413" providerId="ADAL" clId="{05B997C2-6F4D-4561-9472-42BC23D8C4C9}" dt="2023-05-04T15:42:53.302" v="1570" actId="2696"/>
        <pc:sldMkLst>
          <pc:docMk/>
          <pc:sldMk cId="3687056251" sldId="2123258580"/>
        </pc:sldMkLst>
        <pc:spChg chg="mod">
          <ac:chgData name="Pete Puustinen" userId="afdc5376-b007-4d8e-9c19-07b3fbb81413" providerId="ADAL" clId="{05B997C2-6F4D-4561-9472-42BC23D8C4C9}" dt="2023-05-04T15:42:35.617" v="1569" actId="12"/>
          <ac:spMkLst>
            <pc:docMk/>
            <pc:sldMk cId="3687056251" sldId="2123258580"/>
            <ac:spMk id="2" creationId="{E0DCCC6D-05C4-4092-8C9D-AA0D46C1A281}"/>
          </ac:spMkLst>
        </pc:spChg>
        <pc:spChg chg="mod">
          <ac:chgData name="Pete Puustinen" userId="afdc5376-b007-4d8e-9c19-07b3fbb81413" providerId="ADAL" clId="{05B997C2-6F4D-4561-9472-42BC23D8C4C9}" dt="2023-05-04T13:45:03.337" v="529" actId="20577"/>
          <ac:spMkLst>
            <pc:docMk/>
            <pc:sldMk cId="3687056251" sldId="2123258580"/>
            <ac:spMk id="3" creationId="{00000000-0000-0000-0000-000000000000}"/>
          </ac:spMkLst>
        </pc:spChg>
        <pc:spChg chg="add del mod">
          <ac:chgData name="Pete Puustinen" userId="afdc5376-b007-4d8e-9c19-07b3fbb81413" providerId="ADAL" clId="{05B997C2-6F4D-4561-9472-42BC23D8C4C9}" dt="2023-05-04T15:23:08.725" v="1183" actId="478"/>
          <ac:spMkLst>
            <pc:docMk/>
            <pc:sldMk cId="3687056251" sldId="2123258580"/>
            <ac:spMk id="7" creationId="{EBC10ABA-9DBE-88DB-2F3C-700D2C957379}"/>
          </ac:spMkLst>
        </pc:spChg>
        <pc:spChg chg="add del mod">
          <ac:chgData name="Pete Puustinen" userId="afdc5376-b007-4d8e-9c19-07b3fbb81413" providerId="ADAL" clId="{05B997C2-6F4D-4561-9472-42BC23D8C4C9}" dt="2023-05-04T15:23:08.725" v="1183" actId="478"/>
          <ac:spMkLst>
            <pc:docMk/>
            <pc:sldMk cId="3687056251" sldId="2123258580"/>
            <ac:spMk id="12" creationId="{CC10E7EA-7FE1-8CEA-D3F1-9BBBD8EF8FFA}"/>
          </ac:spMkLst>
        </pc:spChg>
        <pc:spChg chg="add del mod">
          <ac:chgData name="Pete Puustinen" userId="afdc5376-b007-4d8e-9c19-07b3fbb81413" providerId="ADAL" clId="{05B997C2-6F4D-4561-9472-42BC23D8C4C9}" dt="2023-05-04T15:23:08.725" v="1183" actId="478"/>
          <ac:spMkLst>
            <pc:docMk/>
            <pc:sldMk cId="3687056251" sldId="2123258580"/>
            <ac:spMk id="14" creationId="{8BEDB6B8-6414-0E37-E0A4-2CD543E70180}"/>
          </ac:spMkLst>
        </pc:spChg>
        <pc:spChg chg="add del mod">
          <ac:chgData name="Pete Puustinen" userId="afdc5376-b007-4d8e-9c19-07b3fbb81413" providerId="ADAL" clId="{05B997C2-6F4D-4561-9472-42BC23D8C4C9}" dt="2023-05-04T15:23:08.725" v="1183" actId="478"/>
          <ac:spMkLst>
            <pc:docMk/>
            <pc:sldMk cId="3687056251" sldId="2123258580"/>
            <ac:spMk id="15" creationId="{01F63C5C-7D84-3AE0-AB6F-EC75E53D8924}"/>
          </ac:spMkLst>
        </pc:spChg>
        <pc:spChg chg="add del mod">
          <ac:chgData name="Pete Puustinen" userId="afdc5376-b007-4d8e-9c19-07b3fbb81413" providerId="ADAL" clId="{05B997C2-6F4D-4561-9472-42BC23D8C4C9}" dt="2023-05-04T15:23:08.725" v="1183" actId="478"/>
          <ac:spMkLst>
            <pc:docMk/>
            <pc:sldMk cId="3687056251" sldId="2123258580"/>
            <ac:spMk id="17" creationId="{4AE435D9-55ED-B12C-9A78-4B79CEEF0AA0}"/>
          </ac:spMkLst>
        </pc:spChg>
        <pc:spChg chg="add del mod">
          <ac:chgData name="Pete Puustinen" userId="afdc5376-b007-4d8e-9c19-07b3fbb81413" providerId="ADAL" clId="{05B997C2-6F4D-4561-9472-42BC23D8C4C9}" dt="2023-05-04T15:23:08.725" v="1183" actId="478"/>
          <ac:spMkLst>
            <pc:docMk/>
            <pc:sldMk cId="3687056251" sldId="2123258580"/>
            <ac:spMk id="24" creationId="{D106D918-340D-74A9-DBBE-EE01B96BEECA}"/>
          </ac:spMkLst>
        </pc:spChg>
        <pc:picChg chg="add del mod">
          <ac:chgData name="Pete Puustinen" userId="afdc5376-b007-4d8e-9c19-07b3fbb81413" providerId="ADAL" clId="{05B997C2-6F4D-4561-9472-42BC23D8C4C9}" dt="2023-05-04T15:23:08.725" v="1183" actId="478"/>
          <ac:picMkLst>
            <pc:docMk/>
            <pc:sldMk cId="3687056251" sldId="2123258580"/>
            <ac:picMk id="5" creationId="{E26BE1CE-08D1-FD8F-7BEB-E3ADF2EF3762}"/>
          </ac:picMkLst>
        </pc:picChg>
        <pc:picChg chg="del">
          <ac:chgData name="Pete Puustinen" userId="afdc5376-b007-4d8e-9c19-07b3fbb81413" providerId="ADAL" clId="{05B997C2-6F4D-4561-9472-42BC23D8C4C9}" dt="2023-05-04T13:30:41.872" v="498" actId="478"/>
          <ac:picMkLst>
            <pc:docMk/>
            <pc:sldMk cId="3687056251" sldId="2123258580"/>
            <ac:picMk id="6" creationId="{6EC0C4F4-134F-4BD7-B971-F480F0999E7F}"/>
          </ac:picMkLst>
        </pc:picChg>
        <pc:picChg chg="del">
          <ac:chgData name="Pete Puustinen" userId="afdc5376-b007-4d8e-9c19-07b3fbb81413" providerId="ADAL" clId="{05B997C2-6F4D-4561-9472-42BC23D8C4C9}" dt="2023-05-04T13:30:36.841" v="497" actId="478"/>
          <ac:picMkLst>
            <pc:docMk/>
            <pc:sldMk cId="3687056251" sldId="2123258580"/>
            <ac:picMk id="8" creationId="{A9AC66D6-830A-4B8C-B283-7BEA46B23DB6}"/>
          </ac:picMkLst>
        </pc:picChg>
        <pc:picChg chg="del">
          <ac:chgData name="Pete Puustinen" userId="afdc5376-b007-4d8e-9c19-07b3fbb81413" providerId="ADAL" clId="{05B997C2-6F4D-4561-9472-42BC23D8C4C9}" dt="2023-05-04T13:30:42.341" v="499" actId="478"/>
          <ac:picMkLst>
            <pc:docMk/>
            <pc:sldMk cId="3687056251" sldId="2123258580"/>
            <ac:picMk id="10" creationId="{BE5F077A-48BA-49B5-AECE-EB22A7B3674C}"/>
          </ac:picMkLst>
        </pc:picChg>
        <pc:picChg chg="add del mod">
          <ac:chgData name="Pete Puustinen" userId="afdc5376-b007-4d8e-9c19-07b3fbb81413" providerId="ADAL" clId="{05B997C2-6F4D-4561-9472-42BC23D8C4C9}" dt="2023-05-04T15:23:08.725" v="1183" actId="478"/>
          <ac:picMkLst>
            <pc:docMk/>
            <pc:sldMk cId="3687056251" sldId="2123258580"/>
            <ac:picMk id="13" creationId="{5D84BFF9-BD14-4573-98A7-2BA25DB3C1B0}"/>
          </ac:picMkLst>
        </pc:picChg>
        <pc:picChg chg="add del mod">
          <ac:chgData name="Pete Puustinen" userId="afdc5376-b007-4d8e-9c19-07b3fbb81413" providerId="ADAL" clId="{05B997C2-6F4D-4561-9472-42BC23D8C4C9}" dt="2023-05-04T15:23:08.725" v="1183" actId="478"/>
          <ac:picMkLst>
            <pc:docMk/>
            <pc:sldMk cId="3687056251" sldId="2123258580"/>
            <ac:picMk id="16" creationId="{DE1854B6-9346-ADFD-7706-957E8E84328C}"/>
          </ac:picMkLst>
        </pc:picChg>
        <pc:picChg chg="add del mod">
          <ac:chgData name="Pete Puustinen" userId="afdc5376-b007-4d8e-9c19-07b3fbb81413" providerId="ADAL" clId="{05B997C2-6F4D-4561-9472-42BC23D8C4C9}" dt="2023-05-04T15:23:08.725" v="1183" actId="478"/>
          <ac:picMkLst>
            <pc:docMk/>
            <pc:sldMk cId="3687056251" sldId="2123258580"/>
            <ac:picMk id="18" creationId="{30927C4B-DC8B-62F1-3B1E-6F27939B80A0}"/>
          </ac:picMkLst>
        </pc:picChg>
        <pc:picChg chg="add del mod">
          <ac:chgData name="Pete Puustinen" userId="afdc5376-b007-4d8e-9c19-07b3fbb81413" providerId="ADAL" clId="{05B997C2-6F4D-4561-9472-42BC23D8C4C9}" dt="2023-05-04T15:23:08.725" v="1183" actId="478"/>
          <ac:picMkLst>
            <pc:docMk/>
            <pc:sldMk cId="3687056251" sldId="2123258580"/>
            <ac:picMk id="20" creationId="{E346B0D5-3E08-E76D-7CDA-82823B6F0B88}"/>
          </ac:picMkLst>
        </pc:picChg>
        <pc:picChg chg="add del mod">
          <ac:chgData name="Pete Puustinen" userId="afdc5376-b007-4d8e-9c19-07b3fbb81413" providerId="ADAL" clId="{05B997C2-6F4D-4561-9472-42BC23D8C4C9}" dt="2023-05-04T15:23:08.725" v="1183" actId="478"/>
          <ac:picMkLst>
            <pc:docMk/>
            <pc:sldMk cId="3687056251" sldId="2123258580"/>
            <ac:picMk id="22" creationId="{2808CBC7-5B0F-44D7-AD2D-2DE8DD561CA3}"/>
          </ac:picMkLst>
        </pc:picChg>
        <pc:picChg chg="add del">
          <ac:chgData name="Pete Puustinen" userId="afdc5376-b007-4d8e-9c19-07b3fbb81413" providerId="ADAL" clId="{05B997C2-6F4D-4561-9472-42BC23D8C4C9}" dt="2023-05-04T13:44:02.518" v="515"/>
          <ac:picMkLst>
            <pc:docMk/>
            <pc:sldMk cId="3687056251" sldId="2123258580"/>
            <ac:picMk id="1026" creationId="{2BE7A0DC-AAB3-7D60-025C-9FD3D651C6BC}"/>
          </ac:picMkLst>
        </pc:picChg>
        <pc:picChg chg="add del">
          <ac:chgData name="Pete Puustinen" userId="afdc5376-b007-4d8e-9c19-07b3fbb81413" providerId="ADAL" clId="{05B997C2-6F4D-4561-9472-42BC23D8C4C9}" dt="2023-05-04T13:44:02.518" v="515"/>
          <ac:picMkLst>
            <pc:docMk/>
            <pc:sldMk cId="3687056251" sldId="2123258580"/>
            <ac:picMk id="1027" creationId="{9CB98481-0131-7A3D-2C66-76C01F928F4D}"/>
          </ac:picMkLst>
        </pc:picChg>
        <pc:picChg chg="add del">
          <ac:chgData name="Pete Puustinen" userId="afdc5376-b007-4d8e-9c19-07b3fbb81413" providerId="ADAL" clId="{05B997C2-6F4D-4561-9472-42BC23D8C4C9}" dt="2023-05-04T13:44:02.518" v="515"/>
          <ac:picMkLst>
            <pc:docMk/>
            <pc:sldMk cId="3687056251" sldId="2123258580"/>
            <ac:picMk id="1028" creationId="{30E9D041-010A-ACCE-037A-B167BBA78787}"/>
          </ac:picMkLst>
        </pc:picChg>
        <pc:picChg chg="add del">
          <ac:chgData name="Pete Puustinen" userId="afdc5376-b007-4d8e-9c19-07b3fbb81413" providerId="ADAL" clId="{05B997C2-6F4D-4561-9472-42BC23D8C4C9}" dt="2023-05-04T13:44:02.518" v="515"/>
          <ac:picMkLst>
            <pc:docMk/>
            <pc:sldMk cId="3687056251" sldId="2123258580"/>
            <ac:picMk id="1029" creationId="{4FFB513E-A0F0-25B8-9B7B-8CDCF5EC5A43}"/>
          </ac:picMkLst>
        </pc:picChg>
        <pc:picChg chg="add del">
          <ac:chgData name="Pete Puustinen" userId="afdc5376-b007-4d8e-9c19-07b3fbb81413" providerId="ADAL" clId="{05B997C2-6F4D-4561-9472-42BC23D8C4C9}" dt="2023-05-04T13:44:02.518" v="515"/>
          <ac:picMkLst>
            <pc:docMk/>
            <pc:sldMk cId="3687056251" sldId="2123258580"/>
            <ac:picMk id="1030" creationId="{49D9A685-0A60-A04E-E2A3-5A330456798C}"/>
          </ac:picMkLst>
        </pc:picChg>
        <pc:picChg chg="add del">
          <ac:chgData name="Pete Puustinen" userId="afdc5376-b007-4d8e-9c19-07b3fbb81413" providerId="ADAL" clId="{05B997C2-6F4D-4561-9472-42BC23D8C4C9}" dt="2023-05-04T13:44:02.518" v="515"/>
          <ac:picMkLst>
            <pc:docMk/>
            <pc:sldMk cId="3687056251" sldId="2123258580"/>
            <ac:picMk id="1031" creationId="{EE0D88A2-3470-14F1-EA57-B3F9BA9E328D}"/>
          </ac:picMkLst>
        </pc:picChg>
        <pc:cxnChg chg="add del mod">
          <ac:chgData name="Pete Puustinen" userId="afdc5376-b007-4d8e-9c19-07b3fbb81413" providerId="ADAL" clId="{05B997C2-6F4D-4561-9472-42BC23D8C4C9}" dt="2023-05-04T15:23:08.725" v="1183" actId="478"/>
          <ac:cxnSpMkLst>
            <pc:docMk/>
            <pc:sldMk cId="3687056251" sldId="2123258580"/>
            <ac:cxnSpMk id="9" creationId="{6326B83B-29FD-3E8F-21C2-CB1869A48592}"/>
          </ac:cxnSpMkLst>
        </pc:cxnChg>
        <pc:cxnChg chg="add del mod">
          <ac:chgData name="Pete Puustinen" userId="afdc5376-b007-4d8e-9c19-07b3fbb81413" providerId="ADAL" clId="{05B997C2-6F4D-4561-9472-42BC23D8C4C9}" dt="2023-05-04T15:23:08.725" v="1183" actId="478"/>
          <ac:cxnSpMkLst>
            <pc:docMk/>
            <pc:sldMk cId="3687056251" sldId="2123258580"/>
            <ac:cxnSpMk id="11" creationId="{E428BF63-A0A0-109B-E8D9-97672D7990D9}"/>
          </ac:cxnSpMkLst>
        </pc:cxnChg>
        <pc:cxnChg chg="add del mod">
          <ac:chgData name="Pete Puustinen" userId="afdc5376-b007-4d8e-9c19-07b3fbb81413" providerId="ADAL" clId="{05B997C2-6F4D-4561-9472-42BC23D8C4C9}" dt="2023-05-04T15:23:08.725" v="1183" actId="478"/>
          <ac:cxnSpMkLst>
            <pc:docMk/>
            <pc:sldMk cId="3687056251" sldId="2123258580"/>
            <ac:cxnSpMk id="19" creationId="{77515656-E027-C149-9F37-CC05A9F11DDF}"/>
          </ac:cxnSpMkLst>
        </pc:cxnChg>
        <pc:cxnChg chg="add del mod">
          <ac:chgData name="Pete Puustinen" userId="afdc5376-b007-4d8e-9c19-07b3fbb81413" providerId="ADAL" clId="{05B997C2-6F4D-4561-9472-42BC23D8C4C9}" dt="2023-05-04T15:23:08.725" v="1183" actId="478"/>
          <ac:cxnSpMkLst>
            <pc:docMk/>
            <pc:sldMk cId="3687056251" sldId="2123258580"/>
            <ac:cxnSpMk id="21" creationId="{53F62C45-2F77-B812-FAE2-C86238487FD5}"/>
          </ac:cxnSpMkLst>
        </pc:cxnChg>
        <pc:cxnChg chg="add del mod">
          <ac:chgData name="Pete Puustinen" userId="afdc5376-b007-4d8e-9c19-07b3fbb81413" providerId="ADAL" clId="{05B997C2-6F4D-4561-9472-42BC23D8C4C9}" dt="2023-05-04T15:23:08.725" v="1183" actId="478"/>
          <ac:cxnSpMkLst>
            <pc:docMk/>
            <pc:sldMk cId="3687056251" sldId="2123258580"/>
            <ac:cxnSpMk id="23" creationId="{8F8E1394-AEE5-B076-CE60-B4B4DB7AB068}"/>
          </ac:cxnSpMkLst>
        </pc:cxnChg>
      </pc:sldChg>
      <pc:sldChg chg="delSp modSp add del mod">
        <pc:chgData name="Pete Puustinen" userId="afdc5376-b007-4d8e-9c19-07b3fbb81413" providerId="ADAL" clId="{05B997C2-6F4D-4561-9472-42BC23D8C4C9}" dt="2023-05-04T14:10:52.357" v="745" actId="47"/>
        <pc:sldMkLst>
          <pc:docMk/>
          <pc:sldMk cId="3162923012" sldId="2147469892"/>
        </pc:sldMkLst>
        <pc:spChg chg="del">
          <ac:chgData name="Pete Puustinen" userId="afdc5376-b007-4d8e-9c19-07b3fbb81413" providerId="ADAL" clId="{05B997C2-6F4D-4561-9472-42BC23D8C4C9}" dt="2023-05-04T09:31:59.287" v="97" actId="478"/>
          <ac:spMkLst>
            <pc:docMk/>
            <pc:sldMk cId="3162923012" sldId="2147469892"/>
            <ac:spMk id="3" creationId="{A0CD9A33-E735-4359-A552-5673A7C2F135}"/>
          </ac:spMkLst>
        </pc:spChg>
        <pc:spChg chg="mod">
          <ac:chgData name="Pete Puustinen" userId="afdc5376-b007-4d8e-9c19-07b3fbb81413" providerId="ADAL" clId="{05B997C2-6F4D-4561-9472-42BC23D8C4C9}" dt="2023-05-04T09:31:16.465" v="90"/>
          <ac:spMkLst>
            <pc:docMk/>
            <pc:sldMk cId="3162923012" sldId="2147469892"/>
            <ac:spMk id="243" creationId="{BA1D717F-315A-47C2-9101-B9CD470542A0}"/>
          </ac:spMkLst>
        </pc:spChg>
        <pc:spChg chg="mod">
          <ac:chgData name="Pete Puustinen" userId="afdc5376-b007-4d8e-9c19-07b3fbb81413" providerId="ADAL" clId="{05B997C2-6F4D-4561-9472-42BC23D8C4C9}" dt="2023-05-04T09:31:16.465" v="90"/>
          <ac:spMkLst>
            <pc:docMk/>
            <pc:sldMk cId="3162923012" sldId="2147469892"/>
            <ac:spMk id="246" creationId="{BB923F6A-FB10-4084-B245-036F1EAEE1FC}"/>
          </ac:spMkLst>
        </pc:spChg>
        <pc:graphicFrameChg chg="mod modGraphic">
          <ac:chgData name="Pete Puustinen" userId="afdc5376-b007-4d8e-9c19-07b3fbb81413" providerId="ADAL" clId="{05B997C2-6F4D-4561-9472-42BC23D8C4C9}" dt="2023-05-04T14:05:28.242" v="744" actId="20577"/>
          <ac:graphicFrameMkLst>
            <pc:docMk/>
            <pc:sldMk cId="3162923012" sldId="2147469892"/>
            <ac:graphicFrameMk id="40" creationId="{AC7A2A35-EB6E-428E-BCEC-3E58E036016D}"/>
          </ac:graphicFrameMkLst>
        </pc:graphicFrameChg>
      </pc:sldChg>
      <pc:sldChg chg="delSp modSp add mod">
        <pc:chgData name="Pete Puustinen" userId="afdc5376-b007-4d8e-9c19-07b3fbb81413" providerId="ADAL" clId="{05B997C2-6F4D-4561-9472-42BC23D8C4C9}" dt="2023-05-04T14:11:31.343" v="810" actId="20577"/>
        <pc:sldMkLst>
          <pc:docMk/>
          <pc:sldMk cId="641711193" sldId="2147469902"/>
        </pc:sldMkLst>
        <pc:spChg chg="del">
          <ac:chgData name="Pete Puustinen" userId="afdc5376-b007-4d8e-9c19-07b3fbb81413" providerId="ADAL" clId="{05B997C2-6F4D-4561-9472-42BC23D8C4C9}" dt="2023-05-04T09:33:37.613" v="99" actId="478"/>
          <ac:spMkLst>
            <pc:docMk/>
            <pc:sldMk cId="641711193" sldId="2147469902"/>
            <ac:spMk id="2" creationId="{298D33BA-6E11-4CDB-9A0F-E238293B499D}"/>
          </ac:spMkLst>
        </pc:spChg>
        <pc:spChg chg="mod">
          <ac:chgData name="Pete Puustinen" userId="afdc5376-b007-4d8e-9c19-07b3fbb81413" providerId="ADAL" clId="{05B997C2-6F4D-4561-9472-42BC23D8C4C9}" dt="2023-05-04T09:35:20.727" v="116" actId="20577"/>
          <ac:spMkLst>
            <pc:docMk/>
            <pc:sldMk cId="641711193" sldId="2147469902"/>
            <ac:spMk id="4" creationId="{3BDD850C-29B9-4641-B580-0B91B9EBAE00}"/>
          </ac:spMkLst>
        </pc:spChg>
        <pc:graphicFrameChg chg="mod modGraphic">
          <ac:chgData name="Pete Puustinen" userId="afdc5376-b007-4d8e-9c19-07b3fbb81413" providerId="ADAL" clId="{05B997C2-6F4D-4561-9472-42BC23D8C4C9}" dt="2023-05-04T14:11:31.343" v="810" actId="20577"/>
          <ac:graphicFrameMkLst>
            <pc:docMk/>
            <pc:sldMk cId="641711193" sldId="2147469902"/>
            <ac:graphicFrameMk id="41" creationId="{2F2EA0C9-C38D-4F1A-8551-0B45DED4B9B8}"/>
          </ac:graphicFrameMkLst>
        </pc:graphicFrameChg>
        <pc:cxnChg chg="mod">
          <ac:chgData name="Pete Puustinen" userId="afdc5376-b007-4d8e-9c19-07b3fbb81413" providerId="ADAL" clId="{05B997C2-6F4D-4561-9472-42BC23D8C4C9}" dt="2023-05-04T11:47:00.278" v="141" actId="1076"/>
          <ac:cxnSpMkLst>
            <pc:docMk/>
            <pc:sldMk cId="641711193" sldId="2147469902"/>
            <ac:cxnSpMk id="50" creationId="{26FAB757-B91F-42E0-8DDA-81C39A2F8225}"/>
          </ac:cxnSpMkLst>
        </pc:cxnChg>
        <pc:cxnChg chg="mod">
          <ac:chgData name="Pete Puustinen" userId="afdc5376-b007-4d8e-9c19-07b3fbb81413" providerId="ADAL" clId="{05B997C2-6F4D-4561-9472-42BC23D8C4C9}" dt="2023-05-04T11:47:02.669" v="142" actId="1076"/>
          <ac:cxnSpMkLst>
            <pc:docMk/>
            <pc:sldMk cId="641711193" sldId="2147469902"/>
            <ac:cxnSpMk id="67" creationId="{E238B2AE-E431-4EA1-8BC4-5D6AC984F8EB}"/>
          </ac:cxnSpMkLst>
        </pc:cxnChg>
        <pc:cxnChg chg="mod">
          <ac:chgData name="Pete Puustinen" userId="afdc5376-b007-4d8e-9c19-07b3fbb81413" providerId="ADAL" clId="{05B997C2-6F4D-4561-9472-42BC23D8C4C9}" dt="2023-05-04T11:47:04.690" v="143" actId="1076"/>
          <ac:cxnSpMkLst>
            <pc:docMk/>
            <pc:sldMk cId="641711193" sldId="2147469902"/>
            <ac:cxnSpMk id="79" creationId="{2ECE0622-5E4F-47AD-AF38-87A50324A092}"/>
          </ac:cxnSpMkLst>
        </pc:cxnChg>
        <pc:cxnChg chg="del">
          <ac:chgData name="Pete Puustinen" userId="afdc5376-b007-4d8e-9c19-07b3fbb81413" providerId="ADAL" clId="{05B997C2-6F4D-4561-9472-42BC23D8C4C9}" dt="2023-05-04T11:46:39.643" v="135" actId="478"/>
          <ac:cxnSpMkLst>
            <pc:docMk/>
            <pc:sldMk cId="641711193" sldId="2147469902"/>
            <ac:cxnSpMk id="84" creationId="{1589EBFA-EFA5-4BE1-BA44-BAE26F566D3E}"/>
          </ac:cxnSpMkLst>
        </pc:cxnChg>
      </pc:sldChg>
      <pc:sldChg chg="modSp add mod ord">
        <pc:chgData name="Pete Puustinen" userId="afdc5376-b007-4d8e-9c19-07b3fbb81413" providerId="ADAL" clId="{05B997C2-6F4D-4561-9472-42BC23D8C4C9}" dt="2023-05-04T11:51:53.447" v="185" actId="404"/>
        <pc:sldMkLst>
          <pc:docMk/>
          <pc:sldMk cId="958331285" sldId="2147469909"/>
        </pc:sldMkLst>
        <pc:spChg chg="mod">
          <ac:chgData name="Pete Puustinen" userId="afdc5376-b007-4d8e-9c19-07b3fbb81413" providerId="ADAL" clId="{05B997C2-6F4D-4561-9472-42BC23D8C4C9}" dt="2023-05-04T11:51:53.447" v="185" actId="404"/>
          <ac:spMkLst>
            <pc:docMk/>
            <pc:sldMk cId="958331285" sldId="2147469909"/>
            <ac:spMk id="4" creationId="{00000000-0000-0000-0000-000000000000}"/>
          </ac:spMkLst>
        </pc:spChg>
        <pc:spChg chg="mod">
          <ac:chgData name="Pete Puustinen" userId="afdc5376-b007-4d8e-9c19-07b3fbb81413" providerId="ADAL" clId="{05B997C2-6F4D-4561-9472-42BC23D8C4C9}" dt="2023-05-04T09:29:25.285" v="88" actId="1036"/>
          <ac:spMkLst>
            <pc:docMk/>
            <pc:sldMk cId="958331285" sldId="2147469909"/>
            <ac:spMk id="6" creationId="{12808BD5-6BEE-4164-9264-E55A823F2E3D}"/>
          </ac:spMkLst>
        </pc:spChg>
      </pc:sldChg>
      <pc:sldChg chg="modSp add ord">
        <pc:chgData name="Pete Puustinen" userId="afdc5376-b007-4d8e-9c19-07b3fbb81413" providerId="ADAL" clId="{05B997C2-6F4D-4561-9472-42BC23D8C4C9}" dt="2023-05-04T09:27:17.012" v="35"/>
        <pc:sldMkLst>
          <pc:docMk/>
          <pc:sldMk cId="1901977838" sldId="2147469910"/>
        </pc:sldMkLst>
        <pc:spChg chg="mod">
          <ac:chgData name="Pete Puustinen" userId="afdc5376-b007-4d8e-9c19-07b3fbb81413" providerId="ADAL" clId="{05B997C2-6F4D-4561-9472-42BC23D8C4C9}" dt="2023-05-04T09:27:15.130" v="33"/>
          <ac:spMkLst>
            <pc:docMk/>
            <pc:sldMk cId="1901977838" sldId="2147469910"/>
            <ac:spMk id="19" creationId="{A04B054A-A721-4144-96FE-966534FB355F}"/>
          </ac:spMkLst>
        </pc:spChg>
        <pc:spChg chg="mod">
          <ac:chgData name="Pete Puustinen" userId="afdc5376-b007-4d8e-9c19-07b3fbb81413" providerId="ADAL" clId="{05B997C2-6F4D-4561-9472-42BC23D8C4C9}" dt="2023-05-04T09:27:15.130" v="33"/>
          <ac:spMkLst>
            <pc:docMk/>
            <pc:sldMk cId="1901977838" sldId="2147469910"/>
            <ac:spMk id="20" creationId="{C94FEEB5-7104-458C-8C7F-BD5D4C6A13B9}"/>
          </ac:spMkLst>
        </pc:spChg>
      </pc:sldChg>
      <pc:sldChg chg="modSp add mod">
        <pc:chgData name="Pete Puustinen" userId="afdc5376-b007-4d8e-9c19-07b3fbb81413" providerId="ADAL" clId="{05B997C2-6F4D-4561-9472-42BC23D8C4C9}" dt="2023-05-04T11:51:42.426" v="182" actId="404"/>
        <pc:sldMkLst>
          <pc:docMk/>
          <pc:sldMk cId="587622894" sldId="2147469911"/>
        </pc:sldMkLst>
        <pc:spChg chg="mod">
          <ac:chgData name="Pete Puustinen" userId="afdc5376-b007-4d8e-9c19-07b3fbb81413" providerId="ADAL" clId="{05B997C2-6F4D-4561-9472-42BC23D8C4C9}" dt="2023-05-04T11:51:42.426" v="182" actId="404"/>
          <ac:spMkLst>
            <pc:docMk/>
            <pc:sldMk cId="587622894" sldId="2147469911"/>
            <ac:spMk id="5" creationId="{27132E6D-A6EE-402B-895A-D0B053AB702A}"/>
          </ac:spMkLst>
        </pc:spChg>
      </pc:sldChg>
      <pc:sldChg chg="modSp add mod">
        <pc:chgData name="Pete Puustinen" userId="afdc5376-b007-4d8e-9c19-07b3fbb81413" providerId="ADAL" clId="{05B997C2-6F4D-4561-9472-42BC23D8C4C9}" dt="2023-05-04T11:52:14.941" v="187"/>
        <pc:sldMkLst>
          <pc:docMk/>
          <pc:sldMk cId="1085996625" sldId="2147469912"/>
        </pc:sldMkLst>
        <pc:spChg chg="mod">
          <ac:chgData name="Pete Puustinen" userId="afdc5376-b007-4d8e-9c19-07b3fbb81413" providerId="ADAL" clId="{05B997C2-6F4D-4561-9472-42BC23D8C4C9}" dt="2023-05-04T11:52:14.941" v="187"/>
          <ac:spMkLst>
            <pc:docMk/>
            <pc:sldMk cId="1085996625" sldId="2147469912"/>
            <ac:spMk id="5" creationId="{27132E6D-A6EE-402B-895A-D0B053AB702A}"/>
          </ac:spMkLst>
        </pc:spChg>
      </pc:sldChg>
      <pc:sldChg chg="modSp add mod">
        <pc:chgData name="Pete Puustinen" userId="afdc5376-b007-4d8e-9c19-07b3fbb81413" providerId="ADAL" clId="{05B997C2-6F4D-4561-9472-42BC23D8C4C9}" dt="2023-05-04T11:52:42.573" v="190"/>
        <pc:sldMkLst>
          <pc:docMk/>
          <pc:sldMk cId="1217924211" sldId="2147469913"/>
        </pc:sldMkLst>
        <pc:spChg chg="mod">
          <ac:chgData name="Pete Puustinen" userId="afdc5376-b007-4d8e-9c19-07b3fbb81413" providerId="ADAL" clId="{05B997C2-6F4D-4561-9472-42BC23D8C4C9}" dt="2023-05-04T11:52:42.573" v="190"/>
          <ac:spMkLst>
            <pc:docMk/>
            <pc:sldMk cId="1217924211" sldId="2147469913"/>
            <ac:spMk id="5" creationId="{27132E6D-A6EE-402B-895A-D0B053AB702A}"/>
          </ac:spMkLst>
        </pc:spChg>
      </pc:sldChg>
      <pc:sldChg chg="modSp add mod">
        <pc:chgData name="Pete Puustinen" userId="afdc5376-b007-4d8e-9c19-07b3fbb81413" providerId="ADAL" clId="{05B997C2-6F4D-4561-9472-42BC23D8C4C9}" dt="2023-05-04T11:53:11.451" v="193"/>
        <pc:sldMkLst>
          <pc:docMk/>
          <pc:sldMk cId="2233480200" sldId="2147469914"/>
        </pc:sldMkLst>
        <pc:spChg chg="mod">
          <ac:chgData name="Pete Puustinen" userId="afdc5376-b007-4d8e-9c19-07b3fbb81413" providerId="ADAL" clId="{05B997C2-6F4D-4561-9472-42BC23D8C4C9}" dt="2023-05-04T11:53:11.451" v="193"/>
          <ac:spMkLst>
            <pc:docMk/>
            <pc:sldMk cId="2233480200" sldId="2147469914"/>
            <ac:spMk id="5" creationId="{27132E6D-A6EE-402B-895A-D0B053AB702A}"/>
          </ac:spMkLst>
        </pc:spChg>
      </pc:sldChg>
      <pc:sldChg chg="modSp add mod">
        <pc:chgData name="Pete Puustinen" userId="afdc5376-b007-4d8e-9c19-07b3fbb81413" providerId="ADAL" clId="{05B997C2-6F4D-4561-9472-42BC23D8C4C9}" dt="2023-05-04T11:53:40.872" v="198"/>
        <pc:sldMkLst>
          <pc:docMk/>
          <pc:sldMk cId="1512546412" sldId="2147469915"/>
        </pc:sldMkLst>
        <pc:spChg chg="mod">
          <ac:chgData name="Pete Puustinen" userId="afdc5376-b007-4d8e-9c19-07b3fbb81413" providerId="ADAL" clId="{05B997C2-6F4D-4561-9472-42BC23D8C4C9}" dt="2023-05-04T11:53:40.872" v="198"/>
          <ac:spMkLst>
            <pc:docMk/>
            <pc:sldMk cId="1512546412" sldId="2147469915"/>
            <ac:spMk id="5" creationId="{27132E6D-A6EE-402B-895A-D0B053AB702A}"/>
          </ac:spMkLst>
        </pc:spChg>
      </pc:sldChg>
      <pc:sldChg chg="add del">
        <pc:chgData name="Pete Puustinen" userId="afdc5376-b007-4d8e-9c19-07b3fbb81413" providerId="ADAL" clId="{05B997C2-6F4D-4561-9472-42BC23D8C4C9}" dt="2023-05-04T11:53:51.059" v="201"/>
        <pc:sldMkLst>
          <pc:docMk/>
          <pc:sldMk cId="2291354727" sldId="2147469916"/>
        </pc:sldMkLst>
      </pc:sldChg>
      <pc:sldChg chg="modSp add mod modShow">
        <pc:chgData name="Pete Puustinen" userId="afdc5376-b007-4d8e-9c19-07b3fbb81413" providerId="ADAL" clId="{05B997C2-6F4D-4561-9472-42BC23D8C4C9}" dt="2023-05-04T11:54:14.367" v="206" actId="729"/>
        <pc:sldMkLst>
          <pc:docMk/>
          <pc:sldMk cId="3251379341" sldId="2147469916"/>
        </pc:sldMkLst>
        <pc:spChg chg="mod">
          <ac:chgData name="Pete Puustinen" userId="afdc5376-b007-4d8e-9c19-07b3fbb81413" providerId="ADAL" clId="{05B997C2-6F4D-4561-9472-42BC23D8C4C9}" dt="2023-05-04T11:54:07.402" v="204" actId="20577"/>
          <ac:spMkLst>
            <pc:docMk/>
            <pc:sldMk cId="3251379341" sldId="2147469916"/>
            <ac:spMk id="5" creationId="{27132E6D-A6EE-402B-895A-D0B053AB702A}"/>
          </ac:spMkLst>
        </pc:spChg>
      </pc:sldChg>
      <pc:sldChg chg="modSp add">
        <pc:chgData name="Pete Puustinen" userId="afdc5376-b007-4d8e-9c19-07b3fbb81413" providerId="ADAL" clId="{05B997C2-6F4D-4561-9472-42BC23D8C4C9}" dt="2023-05-04T11:54:38.828" v="207"/>
        <pc:sldMkLst>
          <pc:docMk/>
          <pc:sldMk cId="4276723870" sldId="2147469917"/>
        </pc:sldMkLst>
        <pc:spChg chg="mod">
          <ac:chgData name="Pete Puustinen" userId="afdc5376-b007-4d8e-9c19-07b3fbb81413" providerId="ADAL" clId="{05B997C2-6F4D-4561-9472-42BC23D8C4C9}" dt="2023-05-04T11:54:38.828" v="207"/>
          <ac:spMkLst>
            <pc:docMk/>
            <pc:sldMk cId="4276723870" sldId="2147469917"/>
            <ac:spMk id="9" creationId="{7AC4F3CB-40F5-4D01-8BB6-1D1FE1099E94}"/>
          </ac:spMkLst>
        </pc:spChg>
        <pc:spChg chg="mod">
          <ac:chgData name="Pete Puustinen" userId="afdc5376-b007-4d8e-9c19-07b3fbb81413" providerId="ADAL" clId="{05B997C2-6F4D-4561-9472-42BC23D8C4C9}" dt="2023-05-04T11:54:38.828" v="207"/>
          <ac:spMkLst>
            <pc:docMk/>
            <pc:sldMk cId="4276723870" sldId="2147469917"/>
            <ac:spMk id="11" creationId="{08E0686E-B166-4606-8464-829D5D0B6AA3}"/>
          </ac:spMkLst>
        </pc:spChg>
      </pc:sldChg>
      <pc:sldChg chg="modSp add mod">
        <pc:chgData name="Pete Puustinen" userId="afdc5376-b007-4d8e-9c19-07b3fbb81413" providerId="ADAL" clId="{05B997C2-6F4D-4561-9472-42BC23D8C4C9}" dt="2023-05-04T12:23:28.641" v="494" actId="20577"/>
        <pc:sldMkLst>
          <pc:docMk/>
          <pc:sldMk cId="2694062714" sldId="2147469918"/>
        </pc:sldMkLst>
        <pc:spChg chg="mod">
          <ac:chgData name="Pete Puustinen" userId="afdc5376-b007-4d8e-9c19-07b3fbb81413" providerId="ADAL" clId="{05B997C2-6F4D-4561-9472-42BC23D8C4C9}" dt="2023-05-04T12:23:15.679" v="490" actId="20577"/>
          <ac:spMkLst>
            <pc:docMk/>
            <pc:sldMk cId="2694062714" sldId="2147469918"/>
            <ac:spMk id="2" creationId="{BC57B38C-8413-4861-A4F5-7DF656AEAD0D}"/>
          </ac:spMkLst>
        </pc:spChg>
        <pc:spChg chg="mod">
          <ac:chgData name="Pete Puustinen" userId="afdc5376-b007-4d8e-9c19-07b3fbb81413" providerId="ADAL" clId="{05B997C2-6F4D-4561-9472-42BC23D8C4C9}" dt="2023-05-04T12:23:28.641" v="494" actId="20577"/>
          <ac:spMkLst>
            <pc:docMk/>
            <pc:sldMk cId="2694062714" sldId="2147469918"/>
            <ac:spMk id="14" creationId="{2044E162-68FA-4C0E-B9D3-D4C8561D02EE}"/>
          </ac:spMkLst>
        </pc:spChg>
      </pc:sldChg>
      <pc:sldChg chg="addSp delSp modSp add del mod">
        <pc:chgData name="Pete Puustinen" userId="afdc5376-b007-4d8e-9c19-07b3fbb81413" providerId="ADAL" clId="{05B997C2-6F4D-4561-9472-42BC23D8C4C9}" dt="2023-05-04T15:42:53.302" v="1570" actId="2696"/>
        <pc:sldMkLst>
          <pc:docMk/>
          <pc:sldMk cId="43755143" sldId="2147469919"/>
        </pc:sldMkLst>
        <pc:spChg chg="del">
          <ac:chgData name="Pete Puustinen" userId="afdc5376-b007-4d8e-9c19-07b3fbb81413" providerId="ADAL" clId="{05B997C2-6F4D-4561-9472-42BC23D8C4C9}" dt="2023-05-04T15:22:43.950" v="1155" actId="478"/>
          <ac:spMkLst>
            <pc:docMk/>
            <pc:sldMk cId="43755143" sldId="2147469919"/>
            <ac:spMk id="2" creationId="{E0DCCC6D-05C4-4092-8C9D-AA0D46C1A281}"/>
          </ac:spMkLst>
        </pc:spChg>
        <pc:spChg chg="mod">
          <ac:chgData name="Pete Puustinen" userId="afdc5376-b007-4d8e-9c19-07b3fbb81413" providerId="ADAL" clId="{05B997C2-6F4D-4561-9472-42BC23D8C4C9}" dt="2023-05-04T15:22:57.471" v="1180" actId="1035"/>
          <ac:spMkLst>
            <pc:docMk/>
            <pc:sldMk cId="43755143" sldId="2147469919"/>
            <ac:spMk id="7" creationId="{EBC10ABA-9DBE-88DB-2F3C-700D2C957379}"/>
          </ac:spMkLst>
        </pc:spChg>
        <pc:spChg chg="add del mod">
          <ac:chgData name="Pete Puustinen" userId="afdc5376-b007-4d8e-9c19-07b3fbb81413" providerId="ADAL" clId="{05B997C2-6F4D-4561-9472-42BC23D8C4C9}" dt="2023-05-04T15:22:52.255" v="1156" actId="478"/>
          <ac:spMkLst>
            <pc:docMk/>
            <pc:sldMk cId="43755143" sldId="2147469919"/>
            <ac:spMk id="8" creationId="{D8CFB9B5-2F1F-631C-C6B3-021C46E698FA}"/>
          </ac:spMkLst>
        </pc:spChg>
        <pc:spChg chg="mod">
          <ac:chgData name="Pete Puustinen" userId="afdc5376-b007-4d8e-9c19-07b3fbb81413" providerId="ADAL" clId="{05B997C2-6F4D-4561-9472-42BC23D8C4C9}" dt="2023-05-04T15:22:57.471" v="1180" actId="1035"/>
          <ac:spMkLst>
            <pc:docMk/>
            <pc:sldMk cId="43755143" sldId="2147469919"/>
            <ac:spMk id="12" creationId="{CC10E7EA-7FE1-8CEA-D3F1-9BBBD8EF8FFA}"/>
          </ac:spMkLst>
        </pc:spChg>
        <pc:spChg chg="mod">
          <ac:chgData name="Pete Puustinen" userId="afdc5376-b007-4d8e-9c19-07b3fbb81413" providerId="ADAL" clId="{05B997C2-6F4D-4561-9472-42BC23D8C4C9}" dt="2023-05-04T15:22:57.471" v="1180" actId="1035"/>
          <ac:spMkLst>
            <pc:docMk/>
            <pc:sldMk cId="43755143" sldId="2147469919"/>
            <ac:spMk id="14" creationId="{8BEDB6B8-6414-0E37-E0A4-2CD543E70180}"/>
          </ac:spMkLst>
        </pc:spChg>
        <pc:spChg chg="mod">
          <ac:chgData name="Pete Puustinen" userId="afdc5376-b007-4d8e-9c19-07b3fbb81413" providerId="ADAL" clId="{05B997C2-6F4D-4561-9472-42BC23D8C4C9}" dt="2023-05-04T15:22:57.471" v="1180" actId="1035"/>
          <ac:spMkLst>
            <pc:docMk/>
            <pc:sldMk cId="43755143" sldId="2147469919"/>
            <ac:spMk id="15" creationId="{01F63C5C-7D84-3AE0-AB6F-EC75E53D8924}"/>
          </ac:spMkLst>
        </pc:spChg>
        <pc:spChg chg="mod">
          <ac:chgData name="Pete Puustinen" userId="afdc5376-b007-4d8e-9c19-07b3fbb81413" providerId="ADAL" clId="{05B997C2-6F4D-4561-9472-42BC23D8C4C9}" dt="2023-05-04T15:22:57.471" v="1180" actId="1035"/>
          <ac:spMkLst>
            <pc:docMk/>
            <pc:sldMk cId="43755143" sldId="2147469919"/>
            <ac:spMk id="17" creationId="{4AE435D9-55ED-B12C-9A78-4B79CEEF0AA0}"/>
          </ac:spMkLst>
        </pc:spChg>
        <pc:spChg chg="mod">
          <ac:chgData name="Pete Puustinen" userId="afdc5376-b007-4d8e-9c19-07b3fbb81413" providerId="ADAL" clId="{05B997C2-6F4D-4561-9472-42BC23D8C4C9}" dt="2023-05-04T15:22:57.471" v="1180" actId="1035"/>
          <ac:spMkLst>
            <pc:docMk/>
            <pc:sldMk cId="43755143" sldId="2147469919"/>
            <ac:spMk id="24" creationId="{D106D918-340D-74A9-DBBE-EE01B96BEECA}"/>
          </ac:spMkLst>
        </pc:spChg>
        <pc:picChg chg="mod">
          <ac:chgData name="Pete Puustinen" userId="afdc5376-b007-4d8e-9c19-07b3fbb81413" providerId="ADAL" clId="{05B997C2-6F4D-4561-9472-42BC23D8C4C9}" dt="2023-05-04T15:22:57.471" v="1180" actId="1035"/>
          <ac:picMkLst>
            <pc:docMk/>
            <pc:sldMk cId="43755143" sldId="2147469919"/>
            <ac:picMk id="5" creationId="{E26BE1CE-08D1-FD8F-7BEB-E3ADF2EF3762}"/>
          </ac:picMkLst>
        </pc:picChg>
        <pc:picChg chg="mod">
          <ac:chgData name="Pete Puustinen" userId="afdc5376-b007-4d8e-9c19-07b3fbb81413" providerId="ADAL" clId="{05B997C2-6F4D-4561-9472-42BC23D8C4C9}" dt="2023-05-04T15:22:57.471" v="1180" actId="1035"/>
          <ac:picMkLst>
            <pc:docMk/>
            <pc:sldMk cId="43755143" sldId="2147469919"/>
            <ac:picMk id="13" creationId="{5D84BFF9-BD14-4573-98A7-2BA25DB3C1B0}"/>
          </ac:picMkLst>
        </pc:picChg>
        <pc:picChg chg="mod">
          <ac:chgData name="Pete Puustinen" userId="afdc5376-b007-4d8e-9c19-07b3fbb81413" providerId="ADAL" clId="{05B997C2-6F4D-4561-9472-42BC23D8C4C9}" dt="2023-05-04T15:22:57.471" v="1180" actId="1035"/>
          <ac:picMkLst>
            <pc:docMk/>
            <pc:sldMk cId="43755143" sldId="2147469919"/>
            <ac:picMk id="16" creationId="{DE1854B6-9346-ADFD-7706-957E8E84328C}"/>
          </ac:picMkLst>
        </pc:picChg>
        <pc:picChg chg="mod">
          <ac:chgData name="Pete Puustinen" userId="afdc5376-b007-4d8e-9c19-07b3fbb81413" providerId="ADAL" clId="{05B997C2-6F4D-4561-9472-42BC23D8C4C9}" dt="2023-05-04T15:22:57.471" v="1180" actId="1035"/>
          <ac:picMkLst>
            <pc:docMk/>
            <pc:sldMk cId="43755143" sldId="2147469919"/>
            <ac:picMk id="18" creationId="{30927C4B-DC8B-62F1-3B1E-6F27939B80A0}"/>
          </ac:picMkLst>
        </pc:picChg>
        <pc:picChg chg="mod">
          <ac:chgData name="Pete Puustinen" userId="afdc5376-b007-4d8e-9c19-07b3fbb81413" providerId="ADAL" clId="{05B997C2-6F4D-4561-9472-42BC23D8C4C9}" dt="2023-05-04T15:22:57.471" v="1180" actId="1035"/>
          <ac:picMkLst>
            <pc:docMk/>
            <pc:sldMk cId="43755143" sldId="2147469919"/>
            <ac:picMk id="20" creationId="{E346B0D5-3E08-E76D-7CDA-82823B6F0B88}"/>
          </ac:picMkLst>
        </pc:picChg>
        <pc:picChg chg="mod">
          <ac:chgData name="Pete Puustinen" userId="afdc5376-b007-4d8e-9c19-07b3fbb81413" providerId="ADAL" clId="{05B997C2-6F4D-4561-9472-42BC23D8C4C9}" dt="2023-05-04T15:22:57.471" v="1180" actId="1035"/>
          <ac:picMkLst>
            <pc:docMk/>
            <pc:sldMk cId="43755143" sldId="2147469919"/>
            <ac:picMk id="22" creationId="{2808CBC7-5B0F-44D7-AD2D-2DE8DD561CA3}"/>
          </ac:picMkLst>
        </pc:picChg>
        <pc:cxnChg chg="mod">
          <ac:chgData name="Pete Puustinen" userId="afdc5376-b007-4d8e-9c19-07b3fbb81413" providerId="ADAL" clId="{05B997C2-6F4D-4561-9472-42BC23D8C4C9}" dt="2023-05-04T15:22:57.471" v="1180" actId="1035"/>
          <ac:cxnSpMkLst>
            <pc:docMk/>
            <pc:sldMk cId="43755143" sldId="2147469919"/>
            <ac:cxnSpMk id="9" creationId="{6326B83B-29FD-3E8F-21C2-CB1869A48592}"/>
          </ac:cxnSpMkLst>
        </pc:cxnChg>
        <pc:cxnChg chg="mod">
          <ac:chgData name="Pete Puustinen" userId="afdc5376-b007-4d8e-9c19-07b3fbb81413" providerId="ADAL" clId="{05B997C2-6F4D-4561-9472-42BC23D8C4C9}" dt="2023-05-04T15:22:57.471" v="1180" actId="1035"/>
          <ac:cxnSpMkLst>
            <pc:docMk/>
            <pc:sldMk cId="43755143" sldId="2147469919"/>
            <ac:cxnSpMk id="11" creationId="{E428BF63-A0A0-109B-E8D9-97672D7990D9}"/>
          </ac:cxnSpMkLst>
        </pc:cxnChg>
        <pc:cxnChg chg="mod">
          <ac:chgData name="Pete Puustinen" userId="afdc5376-b007-4d8e-9c19-07b3fbb81413" providerId="ADAL" clId="{05B997C2-6F4D-4561-9472-42BC23D8C4C9}" dt="2023-05-04T15:22:57.471" v="1180" actId="1035"/>
          <ac:cxnSpMkLst>
            <pc:docMk/>
            <pc:sldMk cId="43755143" sldId="2147469919"/>
            <ac:cxnSpMk id="19" creationId="{77515656-E027-C149-9F37-CC05A9F11DDF}"/>
          </ac:cxnSpMkLst>
        </pc:cxnChg>
        <pc:cxnChg chg="mod">
          <ac:chgData name="Pete Puustinen" userId="afdc5376-b007-4d8e-9c19-07b3fbb81413" providerId="ADAL" clId="{05B997C2-6F4D-4561-9472-42BC23D8C4C9}" dt="2023-05-04T15:22:57.471" v="1180" actId="1035"/>
          <ac:cxnSpMkLst>
            <pc:docMk/>
            <pc:sldMk cId="43755143" sldId="2147469919"/>
            <ac:cxnSpMk id="21" creationId="{53F62C45-2F77-B812-FAE2-C86238487FD5}"/>
          </ac:cxnSpMkLst>
        </pc:cxnChg>
        <pc:cxnChg chg="mod">
          <ac:chgData name="Pete Puustinen" userId="afdc5376-b007-4d8e-9c19-07b3fbb81413" providerId="ADAL" clId="{05B997C2-6F4D-4561-9472-42BC23D8C4C9}" dt="2023-05-04T15:22:57.471" v="1180" actId="1035"/>
          <ac:cxnSpMkLst>
            <pc:docMk/>
            <pc:sldMk cId="43755143" sldId="2147469919"/>
            <ac:cxnSpMk id="23" creationId="{8F8E1394-AEE5-B076-CE60-B4B4DB7AB068}"/>
          </ac:cxnSpMkLst>
        </pc:cxnChg>
      </pc:sldChg>
      <pc:sldChg chg="add del">
        <pc:chgData name="Pete Puustinen" userId="afdc5376-b007-4d8e-9c19-07b3fbb81413" providerId="ADAL" clId="{05B997C2-6F4D-4561-9472-42BC23D8C4C9}" dt="2023-05-04T13:44:51.178" v="518"/>
        <pc:sldMkLst>
          <pc:docMk/>
          <pc:sldMk cId="886002025" sldId="2147469919"/>
        </pc:sldMkLst>
      </pc:sldChg>
      <pc:sldChg chg="add">
        <pc:chgData name="Pete Puustinen" userId="afdc5376-b007-4d8e-9c19-07b3fbb81413" providerId="ADAL" clId="{05B997C2-6F4D-4561-9472-42BC23D8C4C9}" dt="2023-05-04T15:42:57.733" v="1571"/>
        <pc:sldMkLst>
          <pc:docMk/>
          <pc:sldMk cId="3821480253" sldId="2147469919"/>
        </pc:sldMkLst>
      </pc:sldChg>
      <pc:sldMasterChg chg="delSldLayout">
        <pc:chgData name="Pete Puustinen" userId="afdc5376-b007-4d8e-9c19-07b3fbb81413" providerId="ADAL" clId="{05B997C2-6F4D-4561-9472-42BC23D8C4C9}" dt="2023-05-04T13:48:27.595" v="697" actId="47"/>
        <pc:sldMasterMkLst>
          <pc:docMk/>
          <pc:sldMasterMk cId="3138866671" sldId="2147483990"/>
        </pc:sldMasterMkLst>
        <pc:sldLayoutChg chg="del">
          <pc:chgData name="Pete Puustinen" userId="afdc5376-b007-4d8e-9c19-07b3fbb81413" providerId="ADAL" clId="{05B997C2-6F4D-4561-9472-42BC23D8C4C9}" dt="2023-05-04T13:48:27.595" v="697" actId="47"/>
          <pc:sldLayoutMkLst>
            <pc:docMk/>
            <pc:sldMasterMk cId="3138866671" sldId="2147483990"/>
            <pc:sldLayoutMk cId="597087016" sldId="2147484039"/>
          </pc:sldLayoutMkLst>
        </pc:sldLayoutChg>
      </pc:sldMasterChg>
    </pc:docChg>
  </pc:docChgLst>
  <pc:docChgLst>
    <pc:chgData name="Pete Puustinen" userId="S::petrip@microsoft.com::afdc5376-b007-4d8e-9c19-07b3fbb81413" providerId="AD" clId="Web-{2BFA12A6-B201-795B-AE77-BDFDC86516BB}"/>
    <pc:docChg chg="modSld">
      <pc:chgData name="Pete Puustinen" userId="S::petrip@microsoft.com::afdc5376-b007-4d8e-9c19-07b3fbb81413" providerId="AD" clId="Web-{2BFA12A6-B201-795B-AE77-BDFDC86516BB}" dt="2023-11-29T11:21:23.902" v="7" actId="1076"/>
      <pc:docMkLst>
        <pc:docMk/>
      </pc:docMkLst>
      <pc:sldChg chg="addSp delSp modSp">
        <pc:chgData name="Pete Puustinen" userId="S::petrip@microsoft.com::afdc5376-b007-4d8e-9c19-07b3fbb81413" providerId="AD" clId="Web-{2BFA12A6-B201-795B-AE77-BDFDC86516BB}" dt="2023-11-29T11:21:23.902" v="7" actId="1076"/>
        <pc:sldMkLst>
          <pc:docMk/>
          <pc:sldMk cId="1393845032" sldId="297"/>
        </pc:sldMkLst>
        <pc:picChg chg="del">
          <ac:chgData name="Pete Puustinen" userId="S::petrip@microsoft.com::afdc5376-b007-4d8e-9c19-07b3fbb81413" providerId="AD" clId="Web-{2BFA12A6-B201-795B-AE77-BDFDC86516BB}" dt="2023-11-29T11:21:07.636" v="0"/>
          <ac:picMkLst>
            <pc:docMk/>
            <pc:sldMk cId="1393845032" sldId="297"/>
            <ac:picMk id="5" creationId="{0BA40369-4DD2-44C9-828A-027DDC1A9B61}"/>
          </ac:picMkLst>
        </pc:picChg>
        <pc:picChg chg="mod ord">
          <ac:chgData name="Pete Puustinen" userId="S::petrip@microsoft.com::afdc5376-b007-4d8e-9c19-07b3fbb81413" providerId="AD" clId="Web-{2BFA12A6-B201-795B-AE77-BDFDC86516BB}" dt="2023-11-29T11:21:23.902" v="7" actId="1076"/>
          <ac:picMkLst>
            <pc:docMk/>
            <pc:sldMk cId="1393845032" sldId="297"/>
            <ac:picMk id="7" creationId="{6D10122F-7A02-6922-C14C-6F5461458D2E}"/>
          </ac:picMkLst>
        </pc:picChg>
        <pc:picChg chg="add mod">
          <ac:chgData name="Pete Puustinen" userId="S::petrip@microsoft.com::afdc5376-b007-4d8e-9c19-07b3fbb81413" providerId="AD" clId="Web-{2BFA12A6-B201-795B-AE77-BDFDC86516BB}" dt="2023-11-29T11:21:15.152" v="5" actId="1076"/>
          <ac:picMkLst>
            <pc:docMk/>
            <pc:sldMk cId="1393845032" sldId="297"/>
            <ac:picMk id="8" creationId="{B35BF4A5-E1D5-1A4B-9067-E999F85ABE56}"/>
          </ac:picMkLst>
        </pc:picChg>
      </pc:sldChg>
    </pc:docChg>
  </pc:docChgLst>
  <pc:docChgLst>
    <pc:chgData name="Pete Puustinen" userId="afdc5376-b007-4d8e-9c19-07b3fbb81413" providerId="ADAL" clId="{09982B36-30DC-4F05-A8D4-C6BFC5ACDA92}"/>
    <pc:docChg chg="custSel addSld delSld modSld">
      <pc:chgData name="Pete Puustinen" userId="afdc5376-b007-4d8e-9c19-07b3fbb81413" providerId="ADAL" clId="{09982B36-30DC-4F05-A8D4-C6BFC5ACDA92}" dt="2023-11-17T10:56:44.026" v="343"/>
      <pc:docMkLst>
        <pc:docMk/>
      </pc:docMkLst>
      <pc:sldChg chg="delSp modSp mod">
        <pc:chgData name="Pete Puustinen" userId="afdc5376-b007-4d8e-9c19-07b3fbb81413" providerId="ADAL" clId="{09982B36-30DC-4F05-A8D4-C6BFC5ACDA92}" dt="2023-11-17T10:51:54.545" v="302"/>
        <pc:sldMkLst>
          <pc:docMk/>
          <pc:sldMk cId="914707366" sldId="261"/>
        </pc:sldMkLst>
        <pc:spChg chg="mod">
          <ac:chgData name="Pete Puustinen" userId="afdc5376-b007-4d8e-9c19-07b3fbb81413" providerId="ADAL" clId="{09982B36-30DC-4F05-A8D4-C6BFC5ACDA92}" dt="2023-11-17T10:51:54.545" v="302"/>
          <ac:spMkLst>
            <pc:docMk/>
            <pc:sldMk cId="914707366" sldId="261"/>
            <ac:spMk id="3" creationId="{237C44C5-F440-4391-4DE6-686FBF291D1A}"/>
          </ac:spMkLst>
        </pc:spChg>
        <pc:spChg chg="mod">
          <ac:chgData name="Pete Puustinen" userId="afdc5376-b007-4d8e-9c19-07b3fbb81413" providerId="ADAL" clId="{09982B36-30DC-4F05-A8D4-C6BFC5ACDA92}" dt="2023-11-17T09:34:12.574" v="164" actId="14100"/>
          <ac:spMkLst>
            <pc:docMk/>
            <pc:sldMk cId="914707366" sldId="261"/>
            <ac:spMk id="8" creationId="{533121E9-D0AB-4970-AA89-C28892BBD692}"/>
          </ac:spMkLst>
        </pc:spChg>
        <pc:spChg chg="del">
          <ac:chgData name="Pete Puustinen" userId="afdc5376-b007-4d8e-9c19-07b3fbb81413" providerId="ADAL" clId="{09982B36-30DC-4F05-A8D4-C6BFC5ACDA92}" dt="2023-11-17T09:33:35.380" v="0" actId="478"/>
          <ac:spMkLst>
            <pc:docMk/>
            <pc:sldMk cId="914707366" sldId="261"/>
            <ac:spMk id="9" creationId="{A50BDC86-978B-4174-B2E2-5454E7B6FAE8}"/>
          </ac:spMkLst>
        </pc:spChg>
        <pc:spChg chg="mod">
          <ac:chgData name="Pete Puustinen" userId="afdc5376-b007-4d8e-9c19-07b3fbb81413" providerId="ADAL" clId="{09982B36-30DC-4F05-A8D4-C6BFC5ACDA92}" dt="2023-11-17T09:34:09.839" v="163" actId="14100"/>
          <ac:spMkLst>
            <pc:docMk/>
            <pc:sldMk cId="914707366" sldId="261"/>
            <ac:spMk id="10" creationId="{20A40D1B-0722-407F-A8A7-791656669826}"/>
          </ac:spMkLst>
        </pc:spChg>
        <pc:spChg chg="mod">
          <ac:chgData name="Pete Puustinen" userId="afdc5376-b007-4d8e-9c19-07b3fbb81413" providerId="ADAL" clId="{09982B36-30DC-4F05-A8D4-C6BFC5ACDA92}" dt="2023-11-17T09:34:07.899" v="162" actId="14100"/>
          <ac:spMkLst>
            <pc:docMk/>
            <pc:sldMk cId="914707366" sldId="261"/>
            <ac:spMk id="11" creationId="{E9B8353A-0E0B-4542-A46F-1998F3BA1701}"/>
          </ac:spMkLst>
        </pc:spChg>
        <pc:spChg chg="mod">
          <ac:chgData name="Pete Puustinen" userId="afdc5376-b007-4d8e-9c19-07b3fbb81413" providerId="ADAL" clId="{09982B36-30DC-4F05-A8D4-C6BFC5ACDA92}" dt="2023-11-17T09:33:55.470" v="124" actId="1038"/>
          <ac:spMkLst>
            <pc:docMk/>
            <pc:sldMk cId="914707366" sldId="261"/>
            <ac:spMk id="25" creationId="{8AB11EC5-2C85-4145-B284-89FDFF3AFC79}"/>
          </ac:spMkLst>
        </pc:spChg>
        <pc:spChg chg="mod">
          <ac:chgData name="Pete Puustinen" userId="afdc5376-b007-4d8e-9c19-07b3fbb81413" providerId="ADAL" clId="{09982B36-30DC-4F05-A8D4-C6BFC5ACDA92}" dt="2023-11-17T09:33:55.470" v="124" actId="1038"/>
          <ac:spMkLst>
            <pc:docMk/>
            <pc:sldMk cId="914707366" sldId="261"/>
            <ac:spMk id="26" creationId="{30C54780-2EC7-4667-9DB5-09080EB41CC1}"/>
          </ac:spMkLst>
        </pc:spChg>
        <pc:spChg chg="mod">
          <ac:chgData name="Pete Puustinen" userId="afdc5376-b007-4d8e-9c19-07b3fbb81413" providerId="ADAL" clId="{09982B36-30DC-4F05-A8D4-C6BFC5ACDA92}" dt="2023-11-17T09:33:43.443" v="46" actId="1037"/>
          <ac:spMkLst>
            <pc:docMk/>
            <pc:sldMk cId="914707366" sldId="261"/>
            <ac:spMk id="28" creationId="{35B5EE4B-21B6-4ACC-A6F5-B8392F692084}"/>
          </ac:spMkLst>
        </pc:spChg>
        <pc:spChg chg="mod">
          <ac:chgData name="Pete Puustinen" userId="afdc5376-b007-4d8e-9c19-07b3fbb81413" providerId="ADAL" clId="{09982B36-30DC-4F05-A8D4-C6BFC5ACDA92}" dt="2023-11-17T09:33:43.443" v="46" actId="1037"/>
          <ac:spMkLst>
            <pc:docMk/>
            <pc:sldMk cId="914707366" sldId="261"/>
            <ac:spMk id="30" creationId="{081FFAC7-314C-4D98-81FE-D81BBCEDD962}"/>
          </ac:spMkLst>
        </pc:spChg>
        <pc:spChg chg="mod">
          <ac:chgData name="Pete Puustinen" userId="afdc5376-b007-4d8e-9c19-07b3fbb81413" providerId="ADAL" clId="{09982B36-30DC-4F05-A8D4-C6BFC5ACDA92}" dt="2023-11-17T09:33:43.443" v="46" actId="1037"/>
          <ac:spMkLst>
            <pc:docMk/>
            <pc:sldMk cId="914707366" sldId="261"/>
            <ac:spMk id="31" creationId="{EB895384-0388-4E57-A271-BCC1C4E2D7D7}"/>
          </ac:spMkLst>
        </pc:spChg>
        <pc:spChg chg="mod">
          <ac:chgData name="Pete Puustinen" userId="afdc5376-b007-4d8e-9c19-07b3fbb81413" providerId="ADAL" clId="{09982B36-30DC-4F05-A8D4-C6BFC5ACDA92}" dt="2023-11-17T09:33:43.443" v="46" actId="1037"/>
          <ac:spMkLst>
            <pc:docMk/>
            <pc:sldMk cId="914707366" sldId="261"/>
            <ac:spMk id="32" creationId="{2E598254-7695-466C-9FEF-A1C10A98F0DB}"/>
          </ac:spMkLst>
        </pc:spChg>
        <pc:grpChg chg="mod">
          <ac:chgData name="Pete Puustinen" userId="afdc5376-b007-4d8e-9c19-07b3fbb81413" providerId="ADAL" clId="{09982B36-30DC-4F05-A8D4-C6BFC5ACDA92}" dt="2023-11-17T09:33:55.470" v="124" actId="1038"/>
          <ac:grpSpMkLst>
            <pc:docMk/>
            <pc:sldMk cId="914707366" sldId="261"/>
            <ac:grpSpMk id="24" creationId="{75C9AF4C-99E3-4753-9252-1882B777977A}"/>
          </ac:grpSpMkLst>
        </pc:grpChg>
        <pc:grpChg chg="mod">
          <ac:chgData name="Pete Puustinen" userId="afdc5376-b007-4d8e-9c19-07b3fbb81413" providerId="ADAL" clId="{09982B36-30DC-4F05-A8D4-C6BFC5ACDA92}" dt="2023-11-17T09:33:43.443" v="46" actId="1037"/>
          <ac:grpSpMkLst>
            <pc:docMk/>
            <pc:sldMk cId="914707366" sldId="261"/>
            <ac:grpSpMk id="27" creationId="{FCFD04D9-F8A1-4008-9D66-B9AA107025C3}"/>
          </ac:grpSpMkLst>
        </pc:grpChg>
        <pc:grpChg chg="mod">
          <ac:chgData name="Pete Puustinen" userId="afdc5376-b007-4d8e-9c19-07b3fbb81413" providerId="ADAL" clId="{09982B36-30DC-4F05-A8D4-C6BFC5ACDA92}" dt="2023-11-17T09:33:43.443" v="46" actId="1037"/>
          <ac:grpSpMkLst>
            <pc:docMk/>
            <pc:sldMk cId="914707366" sldId="261"/>
            <ac:grpSpMk id="29" creationId="{EBBE0C4B-9F4C-4E03-9F9B-C6CE7515A6D6}"/>
          </ac:grpSpMkLst>
        </pc:grpChg>
        <pc:grpChg chg="del">
          <ac:chgData name="Pete Puustinen" userId="afdc5376-b007-4d8e-9c19-07b3fbb81413" providerId="ADAL" clId="{09982B36-30DC-4F05-A8D4-C6BFC5ACDA92}" dt="2023-11-17T09:33:35.380" v="0" actId="478"/>
          <ac:grpSpMkLst>
            <pc:docMk/>
            <pc:sldMk cId="914707366" sldId="261"/>
            <ac:grpSpMk id="33" creationId="{0B183516-39CC-4695-9F69-A1B7BC4750CA}"/>
          </ac:grpSpMkLst>
        </pc:grpChg>
        <pc:cxnChg chg="mod">
          <ac:chgData name="Pete Puustinen" userId="afdc5376-b007-4d8e-9c19-07b3fbb81413" providerId="ADAL" clId="{09982B36-30DC-4F05-A8D4-C6BFC5ACDA92}" dt="2023-11-17T09:34:02.690" v="161" actId="1038"/>
          <ac:cxnSpMkLst>
            <pc:docMk/>
            <pc:sldMk cId="914707366" sldId="261"/>
            <ac:cxnSpMk id="13" creationId="{0AA81F87-2E5B-4AB0-94B6-94E27DCC9C6B}"/>
          </ac:cxnSpMkLst>
        </pc:cxnChg>
        <pc:cxnChg chg="mod">
          <ac:chgData name="Pete Puustinen" userId="afdc5376-b007-4d8e-9c19-07b3fbb81413" providerId="ADAL" clId="{09982B36-30DC-4F05-A8D4-C6BFC5ACDA92}" dt="2023-11-17T09:33:50.977" v="99" actId="1037"/>
          <ac:cxnSpMkLst>
            <pc:docMk/>
            <pc:sldMk cId="914707366" sldId="261"/>
            <ac:cxnSpMk id="14" creationId="{B387C564-89AA-46EB-AA0E-869323C242CD}"/>
          </ac:cxnSpMkLst>
        </pc:cxnChg>
        <pc:cxnChg chg="del">
          <ac:chgData name="Pete Puustinen" userId="afdc5376-b007-4d8e-9c19-07b3fbb81413" providerId="ADAL" clId="{09982B36-30DC-4F05-A8D4-C6BFC5ACDA92}" dt="2023-11-17T09:33:37.709" v="1" actId="478"/>
          <ac:cxnSpMkLst>
            <pc:docMk/>
            <pc:sldMk cId="914707366" sldId="261"/>
            <ac:cxnSpMk id="15" creationId="{E7F04191-C5BD-4D34-9C71-A2F15BA8C36D}"/>
          </ac:cxnSpMkLst>
        </pc:cxnChg>
      </pc:sldChg>
      <pc:sldChg chg="modSp mod">
        <pc:chgData name="Pete Puustinen" userId="afdc5376-b007-4d8e-9c19-07b3fbb81413" providerId="ADAL" clId="{09982B36-30DC-4F05-A8D4-C6BFC5ACDA92}" dt="2023-11-17T10:51:54.544" v="301"/>
        <pc:sldMkLst>
          <pc:docMk/>
          <pc:sldMk cId="1385431110" sldId="263"/>
        </pc:sldMkLst>
        <pc:spChg chg="mod">
          <ac:chgData name="Pete Puustinen" userId="afdc5376-b007-4d8e-9c19-07b3fbb81413" providerId="ADAL" clId="{09982B36-30DC-4F05-A8D4-C6BFC5ACDA92}" dt="2023-11-17T10:51:54.544" v="301"/>
          <ac:spMkLst>
            <pc:docMk/>
            <pc:sldMk cId="1385431110" sldId="263"/>
            <ac:spMk id="5" creationId="{C2307F40-A292-6B35-BC43-A4B2D373D62B}"/>
          </ac:spMkLst>
        </pc:spChg>
      </pc:sldChg>
      <pc:sldChg chg="modSp mod">
        <pc:chgData name="Pete Puustinen" userId="afdc5376-b007-4d8e-9c19-07b3fbb81413" providerId="ADAL" clId="{09982B36-30DC-4F05-A8D4-C6BFC5ACDA92}" dt="2023-11-17T10:51:54.494" v="261"/>
        <pc:sldMkLst>
          <pc:docMk/>
          <pc:sldMk cId="3977638465" sldId="266"/>
        </pc:sldMkLst>
        <pc:spChg chg="mod">
          <ac:chgData name="Pete Puustinen" userId="afdc5376-b007-4d8e-9c19-07b3fbb81413" providerId="ADAL" clId="{09982B36-30DC-4F05-A8D4-C6BFC5ACDA92}" dt="2023-11-17T10:51:54.494" v="261"/>
          <ac:spMkLst>
            <pc:docMk/>
            <pc:sldMk cId="3977638465" sldId="266"/>
            <ac:spMk id="17" creationId="{E243B2FB-C5E3-4E84-87ED-FB0A2A1A0F89}"/>
          </ac:spMkLst>
        </pc:spChg>
      </pc:sldChg>
      <pc:sldChg chg="modSp mod">
        <pc:chgData name="Pete Puustinen" userId="afdc5376-b007-4d8e-9c19-07b3fbb81413" providerId="ADAL" clId="{09982B36-30DC-4F05-A8D4-C6BFC5ACDA92}" dt="2023-11-17T10:51:54.554" v="309"/>
        <pc:sldMkLst>
          <pc:docMk/>
          <pc:sldMk cId="2523176245" sldId="271"/>
        </pc:sldMkLst>
        <pc:spChg chg="mod">
          <ac:chgData name="Pete Puustinen" userId="afdc5376-b007-4d8e-9c19-07b3fbb81413" providerId="ADAL" clId="{09982B36-30DC-4F05-A8D4-C6BFC5ACDA92}" dt="2023-11-17T10:51:54.554" v="309"/>
          <ac:spMkLst>
            <pc:docMk/>
            <pc:sldMk cId="2523176245" sldId="271"/>
            <ac:spMk id="3" creationId="{B77E2C8E-B846-CE8F-5283-C33A72B2EFE3}"/>
          </ac:spMkLst>
        </pc:spChg>
      </pc:sldChg>
      <pc:sldChg chg="modSp mod">
        <pc:chgData name="Pete Puustinen" userId="afdc5376-b007-4d8e-9c19-07b3fbb81413" providerId="ADAL" clId="{09982B36-30DC-4F05-A8D4-C6BFC5ACDA92}" dt="2023-11-17T10:51:54.552" v="308"/>
        <pc:sldMkLst>
          <pc:docMk/>
          <pc:sldMk cId="3972430632" sldId="272"/>
        </pc:sldMkLst>
        <pc:spChg chg="mod">
          <ac:chgData name="Pete Puustinen" userId="afdc5376-b007-4d8e-9c19-07b3fbb81413" providerId="ADAL" clId="{09982B36-30DC-4F05-A8D4-C6BFC5ACDA92}" dt="2023-11-17T10:51:54.552" v="308"/>
          <ac:spMkLst>
            <pc:docMk/>
            <pc:sldMk cId="3972430632" sldId="272"/>
            <ac:spMk id="3" creationId="{AEA3EB36-448F-0E85-3AB8-C32A3594A28B}"/>
          </ac:spMkLst>
        </pc:spChg>
      </pc:sldChg>
      <pc:sldChg chg="modSp mod">
        <pc:chgData name="Pete Puustinen" userId="afdc5376-b007-4d8e-9c19-07b3fbb81413" providerId="ADAL" clId="{09982B36-30DC-4F05-A8D4-C6BFC5ACDA92}" dt="2023-11-17T10:51:54.556" v="310"/>
        <pc:sldMkLst>
          <pc:docMk/>
          <pc:sldMk cId="3546084662" sldId="273"/>
        </pc:sldMkLst>
        <pc:spChg chg="mod">
          <ac:chgData name="Pete Puustinen" userId="afdc5376-b007-4d8e-9c19-07b3fbb81413" providerId="ADAL" clId="{09982B36-30DC-4F05-A8D4-C6BFC5ACDA92}" dt="2023-11-17T10:51:54.556" v="310"/>
          <ac:spMkLst>
            <pc:docMk/>
            <pc:sldMk cId="3546084662" sldId="273"/>
            <ac:spMk id="3" creationId="{00149F67-3CF8-A3C0-1436-4E1E12BDB30D}"/>
          </ac:spMkLst>
        </pc:spChg>
      </pc:sldChg>
      <pc:sldChg chg="modSp mod">
        <pc:chgData name="Pete Puustinen" userId="afdc5376-b007-4d8e-9c19-07b3fbb81413" providerId="ADAL" clId="{09982B36-30DC-4F05-A8D4-C6BFC5ACDA92}" dt="2023-11-17T10:51:54.551" v="307"/>
        <pc:sldMkLst>
          <pc:docMk/>
          <pc:sldMk cId="2271121934" sldId="274"/>
        </pc:sldMkLst>
        <pc:spChg chg="mod">
          <ac:chgData name="Pete Puustinen" userId="afdc5376-b007-4d8e-9c19-07b3fbb81413" providerId="ADAL" clId="{09982B36-30DC-4F05-A8D4-C6BFC5ACDA92}" dt="2023-11-17T10:51:54.551" v="307"/>
          <ac:spMkLst>
            <pc:docMk/>
            <pc:sldMk cId="2271121934" sldId="274"/>
            <ac:spMk id="3" creationId="{50BE9153-C983-E8C9-A8FA-197045FF322A}"/>
          </ac:spMkLst>
        </pc:spChg>
      </pc:sldChg>
      <pc:sldChg chg="modSp mod">
        <pc:chgData name="Pete Puustinen" userId="afdc5376-b007-4d8e-9c19-07b3fbb81413" providerId="ADAL" clId="{09982B36-30DC-4F05-A8D4-C6BFC5ACDA92}" dt="2023-11-17T10:51:54.550" v="306"/>
        <pc:sldMkLst>
          <pc:docMk/>
          <pc:sldMk cId="724116940" sldId="275"/>
        </pc:sldMkLst>
        <pc:spChg chg="mod">
          <ac:chgData name="Pete Puustinen" userId="afdc5376-b007-4d8e-9c19-07b3fbb81413" providerId="ADAL" clId="{09982B36-30DC-4F05-A8D4-C6BFC5ACDA92}" dt="2023-11-17T10:51:54.550" v="306"/>
          <ac:spMkLst>
            <pc:docMk/>
            <pc:sldMk cId="724116940" sldId="275"/>
            <ac:spMk id="3" creationId="{E10A64E1-27CC-3511-B2FE-0B0E919DB82F}"/>
          </ac:spMkLst>
        </pc:spChg>
      </pc:sldChg>
      <pc:sldChg chg="modSp mod">
        <pc:chgData name="Pete Puustinen" userId="afdc5376-b007-4d8e-9c19-07b3fbb81413" providerId="ADAL" clId="{09982B36-30DC-4F05-A8D4-C6BFC5ACDA92}" dt="2023-11-17T10:51:54.549" v="305"/>
        <pc:sldMkLst>
          <pc:docMk/>
          <pc:sldMk cId="3702944290" sldId="276"/>
        </pc:sldMkLst>
        <pc:spChg chg="mod">
          <ac:chgData name="Pete Puustinen" userId="afdc5376-b007-4d8e-9c19-07b3fbb81413" providerId="ADAL" clId="{09982B36-30DC-4F05-A8D4-C6BFC5ACDA92}" dt="2023-11-17T10:51:54.549" v="305"/>
          <ac:spMkLst>
            <pc:docMk/>
            <pc:sldMk cId="3702944290" sldId="276"/>
            <ac:spMk id="3" creationId="{D9A5B43D-9A7F-89CC-3AFF-0336B0D73E05}"/>
          </ac:spMkLst>
        </pc:spChg>
      </pc:sldChg>
      <pc:sldChg chg="modSp mod">
        <pc:chgData name="Pete Puustinen" userId="afdc5376-b007-4d8e-9c19-07b3fbb81413" providerId="ADAL" clId="{09982B36-30DC-4F05-A8D4-C6BFC5ACDA92}" dt="2023-11-17T10:51:54.547" v="303"/>
        <pc:sldMkLst>
          <pc:docMk/>
          <pc:sldMk cId="610561435" sldId="277"/>
        </pc:sldMkLst>
        <pc:spChg chg="mod">
          <ac:chgData name="Pete Puustinen" userId="afdc5376-b007-4d8e-9c19-07b3fbb81413" providerId="ADAL" clId="{09982B36-30DC-4F05-A8D4-C6BFC5ACDA92}" dt="2023-11-17T10:51:54.547" v="303"/>
          <ac:spMkLst>
            <pc:docMk/>
            <pc:sldMk cId="610561435" sldId="277"/>
            <ac:spMk id="3" creationId="{E1B09949-F6A3-284C-B9B3-0B64C3FFAE9B}"/>
          </ac:spMkLst>
        </pc:spChg>
      </pc:sldChg>
      <pc:sldChg chg="modSp mod">
        <pc:chgData name="Pete Puustinen" userId="afdc5376-b007-4d8e-9c19-07b3fbb81413" providerId="ADAL" clId="{09982B36-30DC-4F05-A8D4-C6BFC5ACDA92}" dt="2023-11-17T10:51:54.543" v="300"/>
        <pc:sldMkLst>
          <pc:docMk/>
          <pc:sldMk cId="3925571220" sldId="279"/>
        </pc:sldMkLst>
        <pc:spChg chg="mod">
          <ac:chgData name="Pete Puustinen" userId="afdc5376-b007-4d8e-9c19-07b3fbb81413" providerId="ADAL" clId="{09982B36-30DC-4F05-A8D4-C6BFC5ACDA92}" dt="2023-11-17T10:51:54.543" v="300"/>
          <ac:spMkLst>
            <pc:docMk/>
            <pc:sldMk cId="3925571220" sldId="279"/>
            <ac:spMk id="6" creationId="{F397FF87-FBE1-2CE0-3485-375C8D33870F}"/>
          </ac:spMkLst>
        </pc:spChg>
      </pc:sldChg>
      <pc:sldChg chg="modSp mod">
        <pc:chgData name="Pete Puustinen" userId="afdc5376-b007-4d8e-9c19-07b3fbb81413" providerId="ADAL" clId="{09982B36-30DC-4F05-A8D4-C6BFC5ACDA92}" dt="2023-11-17T10:51:54.542" v="299"/>
        <pc:sldMkLst>
          <pc:docMk/>
          <pc:sldMk cId="601854313" sldId="280"/>
        </pc:sldMkLst>
        <pc:spChg chg="mod">
          <ac:chgData name="Pete Puustinen" userId="afdc5376-b007-4d8e-9c19-07b3fbb81413" providerId="ADAL" clId="{09982B36-30DC-4F05-A8D4-C6BFC5ACDA92}" dt="2023-11-17T10:51:54.542" v="299"/>
          <ac:spMkLst>
            <pc:docMk/>
            <pc:sldMk cId="601854313" sldId="280"/>
            <ac:spMk id="5" creationId="{173F07B0-7D39-6B65-C541-7A88A86DABB3}"/>
          </ac:spMkLst>
        </pc:spChg>
      </pc:sldChg>
      <pc:sldChg chg="modSp mod">
        <pc:chgData name="Pete Puustinen" userId="afdc5376-b007-4d8e-9c19-07b3fbb81413" providerId="ADAL" clId="{09982B36-30DC-4F05-A8D4-C6BFC5ACDA92}" dt="2023-11-17T10:51:54.540" v="297"/>
        <pc:sldMkLst>
          <pc:docMk/>
          <pc:sldMk cId="1002577048" sldId="281"/>
        </pc:sldMkLst>
        <pc:spChg chg="mod">
          <ac:chgData name="Pete Puustinen" userId="afdc5376-b007-4d8e-9c19-07b3fbb81413" providerId="ADAL" clId="{09982B36-30DC-4F05-A8D4-C6BFC5ACDA92}" dt="2023-11-17T10:51:54.540" v="297"/>
          <ac:spMkLst>
            <pc:docMk/>
            <pc:sldMk cId="1002577048" sldId="281"/>
            <ac:spMk id="6" creationId="{6DF25F33-EF52-C1B7-6DCD-ABBCCEE67286}"/>
          </ac:spMkLst>
        </pc:spChg>
      </pc:sldChg>
      <pc:sldChg chg="modSp mod">
        <pc:chgData name="Pete Puustinen" userId="afdc5376-b007-4d8e-9c19-07b3fbb81413" providerId="ADAL" clId="{09982B36-30DC-4F05-A8D4-C6BFC5ACDA92}" dt="2023-11-17T10:51:54.541" v="298"/>
        <pc:sldMkLst>
          <pc:docMk/>
          <pc:sldMk cId="815473112" sldId="282"/>
        </pc:sldMkLst>
        <pc:spChg chg="mod">
          <ac:chgData name="Pete Puustinen" userId="afdc5376-b007-4d8e-9c19-07b3fbb81413" providerId="ADAL" clId="{09982B36-30DC-4F05-A8D4-C6BFC5ACDA92}" dt="2023-11-17T10:51:54.541" v="298"/>
          <ac:spMkLst>
            <pc:docMk/>
            <pc:sldMk cId="815473112" sldId="282"/>
            <ac:spMk id="5" creationId="{C889F3CC-105A-DE67-A98B-1A6A9F9D1179}"/>
          </ac:spMkLst>
        </pc:spChg>
      </pc:sldChg>
      <pc:sldChg chg="modSp mod">
        <pc:chgData name="Pete Puustinen" userId="afdc5376-b007-4d8e-9c19-07b3fbb81413" providerId="ADAL" clId="{09982B36-30DC-4F05-A8D4-C6BFC5ACDA92}" dt="2023-11-17T10:51:54.539" v="296"/>
        <pc:sldMkLst>
          <pc:docMk/>
          <pc:sldMk cId="1989338790" sldId="283"/>
        </pc:sldMkLst>
        <pc:spChg chg="mod">
          <ac:chgData name="Pete Puustinen" userId="afdc5376-b007-4d8e-9c19-07b3fbb81413" providerId="ADAL" clId="{09982B36-30DC-4F05-A8D4-C6BFC5ACDA92}" dt="2023-11-17T10:51:54.539" v="296"/>
          <ac:spMkLst>
            <pc:docMk/>
            <pc:sldMk cId="1989338790" sldId="283"/>
            <ac:spMk id="5" creationId="{63C11CB4-58A2-61A4-B4B1-FEDFB081C157}"/>
          </ac:spMkLst>
        </pc:spChg>
      </pc:sldChg>
      <pc:sldChg chg="modSp mod">
        <pc:chgData name="Pete Puustinen" userId="afdc5376-b007-4d8e-9c19-07b3fbb81413" providerId="ADAL" clId="{09982B36-30DC-4F05-A8D4-C6BFC5ACDA92}" dt="2023-11-17T10:51:54.536" v="294"/>
        <pc:sldMkLst>
          <pc:docMk/>
          <pc:sldMk cId="4130837256" sldId="285"/>
        </pc:sldMkLst>
        <pc:spChg chg="mod">
          <ac:chgData name="Pete Puustinen" userId="afdc5376-b007-4d8e-9c19-07b3fbb81413" providerId="ADAL" clId="{09982B36-30DC-4F05-A8D4-C6BFC5ACDA92}" dt="2023-11-17T10:51:54.536" v="294"/>
          <ac:spMkLst>
            <pc:docMk/>
            <pc:sldMk cId="4130837256" sldId="285"/>
            <ac:spMk id="4" creationId="{BFC74AC0-1B46-CBDF-5F41-1E2748D12316}"/>
          </ac:spMkLst>
        </pc:spChg>
      </pc:sldChg>
      <pc:sldChg chg="modSp mod">
        <pc:chgData name="Pete Puustinen" userId="afdc5376-b007-4d8e-9c19-07b3fbb81413" providerId="ADAL" clId="{09982B36-30DC-4F05-A8D4-C6BFC5ACDA92}" dt="2023-11-17T10:51:54.535" v="293"/>
        <pc:sldMkLst>
          <pc:docMk/>
          <pc:sldMk cId="1775881621" sldId="286"/>
        </pc:sldMkLst>
        <pc:spChg chg="mod">
          <ac:chgData name="Pete Puustinen" userId="afdc5376-b007-4d8e-9c19-07b3fbb81413" providerId="ADAL" clId="{09982B36-30DC-4F05-A8D4-C6BFC5ACDA92}" dt="2023-11-17T10:51:54.535" v="293"/>
          <ac:spMkLst>
            <pc:docMk/>
            <pc:sldMk cId="1775881621" sldId="286"/>
            <ac:spMk id="4" creationId="{1A62C531-72F3-5641-FF50-B83A4A33A77F}"/>
          </ac:spMkLst>
        </pc:spChg>
      </pc:sldChg>
      <pc:sldChg chg="modSp mod">
        <pc:chgData name="Pete Puustinen" userId="afdc5376-b007-4d8e-9c19-07b3fbb81413" providerId="ADAL" clId="{09982B36-30DC-4F05-A8D4-C6BFC5ACDA92}" dt="2023-11-17T10:51:54.534" v="292"/>
        <pc:sldMkLst>
          <pc:docMk/>
          <pc:sldMk cId="1580726745" sldId="288"/>
        </pc:sldMkLst>
        <pc:spChg chg="mod">
          <ac:chgData name="Pete Puustinen" userId="afdc5376-b007-4d8e-9c19-07b3fbb81413" providerId="ADAL" clId="{09982B36-30DC-4F05-A8D4-C6BFC5ACDA92}" dt="2023-11-17T09:35:02.514" v="174" actId="6549"/>
          <ac:spMkLst>
            <pc:docMk/>
            <pc:sldMk cId="1580726745" sldId="288"/>
            <ac:spMk id="2" creationId="{E0DCCC6D-05C4-4092-8C9D-AA0D46C1A281}"/>
          </ac:spMkLst>
        </pc:spChg>
        <pc:spChg chg="mod">
          <ac:chgData name="Pete Puustinen" userId="afdc5376-b007-4d8e-9c19-07b3fbb81413" providerId="ADAL" clId="{09982B36-30DC-4F05-A8D4-C6BFC5ACDA92}" dt="2023-11-17T10:51:54.534" v="292"/>
          <ac:spMkLst>
            <pc:docMk/>
            <pc:sldMk cId="1580726745" sldId="288"/>
            <ac:spMk id="6" creationId="{9197B8A1-3968-8D28-2EFA-793D268B4636}"/>
          </ac:spMkLst>
        </pc:spChg>
      </pc:sldChg>
      <pc:sldChg chg="modSp mod">
        <pc:chgData name="Pete Puustinen" userId="afdc5376-b007-4d8e-9c19-07b3fbb81413" providerId="ADAL" clId="{09982B36-30DC-4F05-A8D4-C6BFC5ACDA92}" dt="2023-11-17T10:51:54.533" v="291"/>
        <pc:sldMkLst>
          <pc:docMk/>
          <pc:sldMk cId="1704127205" sldId="289"/>
        </pc:sldMkLst>
        <pc:spChg chg="mod">
          <ac:chgData name="Pete Puustinen" userId="afdc5376-b007-4d8e-9c19-07b3fbb81413" providerId="ADAL" clId="{09982B36-30DC-4F05-A8D4-C6BFC5ACDA92}" dt="2023-11-17T10:51:54.533" v="291"/>
          <ac:spMkLst>
            <pc:docMk/>
            <pc:sldMk cId="1704127205" sldId="289"/>
            <ac:spMk id="4" creationId="{4E5858A1-18F7-D4CD-CFD7-4D93BDCD38A2}"/>
          </ac:spMkLst>
        </pc:spChg>
      </pc:sldChg>
      <pc:sldChg chg="modSp mod">
        <pc:chgData name="Pete Puustinen" userId="afdc5376-b007-4d8e-9c19-07b3fbb81413" providerId="ADAL" clId="{09982B36-30DC-4F05-A8D4-C6BFC5ACDA92}" dt="2023-11-17T10:51:54.529" v="289"/>
        <pc:sldMkLst>
          <pc:docMk/>
          <pc:sldMk cId="3758785367" sldId="290"/>
        </pc:sldMkLst>
        <pc:spChg chg="mod">
          <ac:chgData name="Pete Puustinen" userId="afdc5376-b007-4d8e-9c19-07b3fbb81413" providerId="ADAL" clId="{09982B36-30DC-4F05-A8D4-C6BFC5ACDA92}" dt="2023-11-17T10:51:54.529" v="289"/>
          <ac:spMkLst>
            <pc:docMk/>
            <pc:sldMk cId="3758785367" sldId="290"/>
            <ac:spMk id="4" creationId="{0AB0C027-2363-D701-F326-4206A517BF18}"/>
          </ac:spMkLst>
        </pc:spChg>
      </pc:sldChg>
      <pc:sldChg chg="modSp mod">
        <pc:chgData name="Pete Puustinen" userId="afdc5376-b007-4d8e-9c19-07b3fbb81413" providerId="ADAL" clId="{09982B36-30DC-4F05-A8D4-C6BFC5ACDA92}" dt="2023-11-17T10:51:54.527" v="287"/>
        <pc:sldMkLst>
          <pc:docMk/>
          <pc:sldMk cId="3047581608" sldId="293"/>
        </pc:sldMkLst>
        <pc:spChg chg="mod">
          <ac:chgData name="Pete Puustinen" userId="afdc5376-b007-4d8e-9c19-07b3fbb81413" providerId="ADAL" clId="{09982B36-30DC-4F05-A8D4-C6BFC5ACDA92}" dt="2023-11-17T09:35:36.510" v="183" actId="20577"/>
          <ac:spMkLst>
            <pc:docMk/>
            <pc:sldMk cId="3047581608" sldId="293"/>
            <ac:spMk id="2" creationId="{E0DCCC6D-05C4-4092-8C9D-AA0D46C1A281}"/>
          </ac:spMkLst>
        </pc:spChg>
        <pc:spChg chg="mod">
          <ac:chgData name="Pete Puustinen" userId="afdc5376-b007-4d8e-9c19-07b3fbb81413" providerId="ADAL" clId="{09982B36-30DC-4F05-A8D4-C6BFC5ACDA92}" dt="2023-11-17T10:51:54.527" v="287"/>
          <ac:spMkLst>
            <pc:docMk/>
            <pc:sldMk cId="3047581608" sldId="293"/>
            <ac:spMk id="5" creationId="{0809E660-05B4-981B-C83E-B45084775740}"/>
          </ac:spMkLst>
        </pc:spChg>
      </pc:sldChg>
      <pc:sldChg chg="modSp mod">
        <pc:chgData name="Pete Puustinen" userId="afdc5376-b007-4d8e-9c19-07b3fbb81413" providerId="ADAL" clId="{09982B36-30DC-4F05-A8D4-C6BFC5ACDA92}" dt="2023-11-17T10:51:54.524" v="284"/>
        <pc:sldMkLst>
          <pc:docMk/>
          <pc:sldMk cId="1707684876" sldId="294"/>
        </pc:sldMkLst>
        <pc:spChg chg="mod">
          <ac:chgData name="Pete Puustinen" userId="afdc5376-b007-4d8e-9c19-07b3fbb81413" providerId="ADAL" clId="{09982B36-30DC-4F05-A8D4-C6BFC5ACDA92}" dt="2023-11-17T10:51:54.524" v="284"/>
          <ac:spMkLst>
            <pc:docMk/>
            <pc:sldMk cId="1707684876" sldId="294"/>
            <ac:spMk id="5" creationId="{2AC3C1CF-8655-0A53-7BF5-AA4D30F74D49}"/>
          </ac:spMkLst>
        </pc:spChg>
      </pc:sldChg>
      <pc:sldChg chg="modSp mod">
        <pc:chgData name="Pete Puustinen" userId="afdc5376-b007-4d8e-9c19-07b3fbb81413" providerId="ADAL" clId="{09982B36-30DC-4F05-A8D4-C6BFC5ACDA92}" dt="2023-11-17T10:51:54.519" v="281"/>
        <pc:sldMkLst>
          <pc:docMk/>
          <pc:sldMk cId="619086979" sldId="295"/>
        </pc:sldMkLst>
        <pc:spChg chg="mod">
          <ac:chgData name="Pete Puustinen" userId="afdc5376-b007-4d8e-9c19-07b3fbb81413" providerId="ADAL" clId="{09982B36-30DC-4F05-A8D4-C6BFC5ACDA92}" dt="2023-11-17T10:51:54.519" v="281"/>
          <ac:spMkLst>
            <pc:docMk/>
            <pc:sldMk cId="619086979" sldId="295"/>
            <ac:spMk id="5" creationId="{109E756A-5562-95C4-4942-186F4D612304}"/>
          </ac:spMkLst>
        </pc:spChg>
      </pc:sldChg>
      <pc:sldChg chg="modSp mod">
        <pc:chgData name="Pete Puustinen" userId="afdc5376-b007-4d8e-9c19-07b3fbb81413" providerId="ADAL" clId="{09982B36-30DC-4F05-A8D4-C6BFC5ACDA92}" dt="2023-11-17T10:51:54.521" v="282"/>
        <pc:sldMkLst>
          <pc:docMk/>
          <pc:sldMk cId="4241482967" sldId="296"/>
        </pc:sldMkLst>
        <pc:spChg chg="mod">
          <ac:chgData name="Pete Puustinen" userId="afdc5376-b007-4d8e-9c19-07b3fbb81413" providerId="ADAL" clId="{09982B36-30DC-4F05-A8D4-C6BFC5ACDA92}" dt="2023-11-17T10:51:54.521" v="282"/>
          <ac:spMkLst>
            <pc:docMk/>
            <pc:sldMk cId="4241482967" sldId="296"/>
            <ac:spMk id="5" creationId="{31036E5C-B8EE-825D-E9BC-FA1578635AA7}"/>
          </ac:spMkLst>
        </pc:spChg>
      </pc:sldChg>
      <pc:sldChg chg="modSp mod">
        <pc:chgData name="Pete Puustinen" userId="afdc5376-b007-4d8e-9c19-07b3fbb81413" providerId="ADAL" clId="{09982B36-30DC-4F05-A8D4-C6BFC5ACDA92}" dt="2023-11-17T10:51:54.516" v="279"/>
        <pc:sldMkLst>
          <pc:docMk/>
          <pc:sldMk cId="1393845032" sldId="297"/>
        </pc:sldMkLst>
        <pc:spChg chg="mod">
          <ac:chgData name="Pete Puustinen" userId="afdc5376-b007-4d8e-9c19-07b3fbb81413" providerId="ADAL" clId="{09982B36-30DC-4F05-A8D4-C6BFC5ACDA92}" dt="2023-11-17T09:36:12.715" v="202" actId="20577"/>
          <ac:spMkLst>
            <pc:docMk/>
            <pc:sldMk cId="1393845032" sldId="297"/>
            <ac:spMk id="3" creationId="{00000000-0000-0000-0000-000000000000}"/>
          </ac:spMkLst>
        </pc:spChg>
        <pc:spChg chg="mod">
          <ac:chgData name="Pete Puustinen" userId="afdc5376-b007-4d8e-9c19-07b3fbb81413" providerId="ADAL" clId="{09982B36-30DC-4F05-A8D4-C6BFC5ACDA92}" dt="2023-11-17T09:36:24.920" v="205"/>
          <ac:spMkLst>
            <pc:docMk/>
            <pc:sldMk cId="1393845032" sldId="297"/>
            <ac:spMk id="4" creationId="{9B5E814D-BCDE-404A-A182-6AFC5E059337}"/>
          </ac:spMkLst>
        </pc:spChg>
        <pc:spChg chg="mod">
          <ac:chgData name="Pete Puustinen" userId="afdc5376-b007-4d8e-9c19-07b3fbb81413" providerId="ADAL" clId="{09982B36-30DC-4F05-A8D4-C6BFC5ACDA92}" dt="2023-11-17T10:51:54.516" v="279"/>
          <ac:spMkLst>
            <pc:docMk/>
            <pc:sldMk cId="1393845032" sldId="297"/>
            <ac:spMk id="6" creationId="{0B06BB4C-670A-A480-CCBD-02E0E8BBA082}"/>
          </ac:spMkLst>
        </pc:spChg>
      </pc:sldChg>
      <pc:sldChg chg="modSp mod">
        <pc:chgData name="Pete Puustinen" userId="afdc5376-b007-4d8e-9c19-07b3fbb81413" providerId="ADAL" clId="{09982B36-30DC-4F05-A8D4-C6BFC5ACDA92}" dt="2023-11-17T10:51:54.518" v="280"/>
        <pc:sldMkLst>
          <pc:docMk/>
          <pc:sldMk cId="297645679" sldId="298"/>
        </pc:sldMkLst>
        <pc:spChg chg="mod">
          <ac:chgData name="Pete Puustinen" userId="afdc5376-b007-4d8e-9c19-07b3fbb81413" providerId="ADAL" clId="{09982B36-30DC-4F05-A8D4-C6BFC5ACDA92}" dt="2023-11-17T09:36:20.428" v="204" actId="20577"/>
          <ac:spMkLst>
            <pc:docMk/>
            <pc:sldMk cId="297645679" sldId="298"/>
            <ac:spMk id="4" creationId="{9B5E814D-BCDE-404A-A182-6AFC5E059337}"/>
          </ac:spMkLst>
        </pc:spChg>
        <pc:spChg chg="mod">
          <ac:chgData name="Pete Puustinen" userId="afdc5376-b007-4d8e-9c19-07b3fbb81413" providerId="ADAL" clId="{09982B36-30DC-4F05-A8D4-C6BFC5ACDA92}" dt="2023-11-17T10:51:54.518" v="280"/>
          <ac:spMkLst>
            <pc:docMk/>
            <pc:sldMk cId="297645679" sldId="298"/>
            <ac:spMk id="5" creationId="{C7D192D7-E56C-6A67-392D-86F42CDB603E}"/>
          </ac:spMkLst>
        </pc:spChg>
      </pc:sldChg>
      <pc:sldChg chg="addSp delSp modSp mod">
        <pc:chgData name="Pete Puustinen" userId="afdc5376-b007-4d8e-9c19-07b3fbb81413" providerId="ADAL" clId="{09982B36-30DC-4F05-A8D4-C6BFC5ACDA92}" dt="2023-11-17T10:51:54.515" v="278"/>
        <pc:sldMkLst>
          <pc:docMk/>
          <pc:sldMk cId="3851503898" sldId="300"/>
        </pc:sldMkLst>
        <pc:spChg chg="mod">
          <ac:chgData name="Pete Puustinen" userId="afdc5376-b007-4d8e-9c19-07b3fbb81413" providerId="ADAL" clId="{09982B36-30DC-4F05-A8D4-C6BFC5ACDA92}" dt="2023-11-17T09:49:13.176" v="209"/>
          <ac:spMkLst>
            <pc:docMk/>
            <pc:sldMk cId="3851503898" sldId="300"/>
            <ac:spMk id="3" creationId="{00000000-0000-0000-0000-000000000000}"/>
          </ac:spMkLst>
        </pc:spChg>
        <pc:spChg chg="mod">
          <ac:chgData name="Pete Puustinen" userId="afdc5376-b007-4d8e-9c19-07b3fbb81413" providerId="ADAL" clId="{09982B36-30DC-4F05-A8D4-C6BFC5ACDA92}" dt="2023-11-17T09:36:31.239" v="206"/>
          <ac:spMkLst>
            <pc:docMk/>
            <pc:sldMk cId="3851503898" sldId="300"/>
            <ac:spMk id="4" creationId="{9B5E814D-BCDE-404A-A182-6AFC5E059337}"/>
          </ac:spMkLst>
        </pc:spChg>
        <pc:spChg chg="mod">
          <ac:chgData name="Pete Puustinen" userId="afdc5376-b007-4d8e-9c19-07b3fbb81413" providerId="ADAL" clId="{09982B36-30DC-4F05-A8D4-C6BFC5ACDA92}" dt="2023-11-17T10:51:54.515" v="278"/>
          <ac:spMkLst>
            <pc:docMk/>
            <pc:sldMk cId="3851503898" sldId="300"/>
            <ac:spMk id="5" creationId="{375BE2CD-95C2-A076-82E8-F8426A2873D2}"/>
          </ac:spMkLst>
        </pc:spChg>
        <pc:picChg chg="add mod">
          <ac:chgData name="Pete Puustinen" userId="afdc5376-b007-4d8e-9c19-07b3fbb81413" providerId="ADAL" clId="{09982B36-30DC-4F05-A8D4-C6BFC5ACDA92}" dt="2023-11-17T09:49:31.351" v="215" actId="14100"/>
          <ac:picMkLst>
            <pc:docMk/>
            <pc:sldMk cId="3851503898" sldId="300"/>
            <ac:picMk id="6" creationId="{9FF09BDA-BA7C-A74E-97FE-A952897696E9}"/>
          </ac:picMkLst>
        </pc:picChg>
        <pc:picChg chg="del">
          <ac:chgData name="Pete Puustinen" userId="afdc5376-b007-4d8e-9c19-07b3fbb81413" providerId="ADAL" clId="{09982B36-30DC-4F05-A8D4-C6BFC5ACDA92}" dt="2023-11-17T09:49:22.448" v="210" actId="478"/>
          <ac:picMkLst>
            <pc:docMk/>
            <pc:sldMk cId="3851503898" sldId="300"/>
            <ac:picMk id="7" creationId="{ECE17816-3DFC-E4EF-5460-60D74D4BA3EB}"/>
          </ac:picMkLst>
        </pc:picChg>
        <pc:picChg chg="del">
          <ac:chgData name="Pete Puustinen" userId="afdc5376-b007-4d8e-9c19-07b3fbb81413" providerId="ADAL" clId="{09982B36-30DC-4F05-A8D4-C6BFC5ACDA92}" dt="2023-11-17T09:49:23.921" v="211" actId="478"/>
          <ac:picMkLst>
            <pc:docMk/>
            <pc:sldMk cId="3851503898" sldId="300"/>
            <ac:picMk id="12" creationId="{FC4BFAF4-C940-C96D-2F96-881599250809}"/>
          </ac:picMkLst>
        </pc:picChg>
      </pc:sldChg>
      <pc:sldChg chg="addSp delSp modSp mod">
        <pc:chgData name="Pete Puustinen" userId="afdc5376-b007-4d8e-9c19-07b3fbb81413" providerId="ADAL" clId="{09982B36-30DC-4F05-A8D4-C6BFC5ACDA92}" dt="2023-11-17T10:51:54.514" v="277"/>
        <pc:sldMkLst>
          <pc:docMk/>
          <pc:sldMk cId="4036827784" sldId="302"/>
        </pc:sldMkLst>
        <pc:spChg chg="mod">
          <ac:chgData name="Pete Puustinen" userId="afdc5376-b007-4d8e-9c19-07b3fbb81413" providerId="ADAL" clId="{09982B36-30DC-4F05-A8D4-C6BFC5ACDA92}" dt="2023-11-17T09:49:50.715" v="216"/>
          <ac:spMkLst>
            <pc:docMk/>
            <pc:sldMk cId="4036827784" sldId="302"/>
            <ac:spMk id="3" creationId="{00000000-0000-0000-0000-000000000000}"/>
          </ac:spMkLst>
        </pc:spChg>
        <pc:spChg chg="mod">
          <ac:chgData name="Pete Puustinen" userId="afdc5376-b007-4d8e-9c19-07b3fbb81413" providerId="ADAL" clId="{09982B36-30DC-4F05-A8D4-C6BFC5ACDA92}" dt="2023-11-17T09:36:34.392" v="207"/>
          <ac:spMkLst>
            <pc:docMk/>
            <pc:sldMk cId="4036827784" sldId="302"/>
            <ac:spMk id="4" creationId="{9B5E814D-BCDE-404A-A182-6AFC5E059337}"/>
          </ac:spMkLst>
        </pc:spChg>
        <pc:spChg chg="mod">
          <ac:chgData name="Pete Puustinen" userId="afdc5376-b007-4d8e-9c19-07b3fbb81413" providerId="ADAL" clId="{09982B36-30DC-4F05-A8D4-C6BFC5ACDA92}" dt="2023-11-17T10:51:54.514" v="277"/>
          <ac:spMkLst>
            <pc:docMk/>
            <pc:sldMk cId="4036827784" sldId="302"/>
            <ac:spMk id="6" creationId="{3613D78A-F35B-41E0-CAFB-1BABDBA801B6}"/>
          </ac:spMkLst>
        </pc:spChg>
        <pc:picChg chg="del">
          <ac:chgData name="Pete Puustinen" userId="afdc5376-b007-4d8e-9c19-07b3fbb81413" providerId="ADAL" clId="{09982B36-30DC-4F05-A8D4-C6BFC5ACDA92}" dt="2023-11-17T09:49:51.787" v="217" actId="478"/>
          <ac:picMkLst>
            <pc:docMk/>
            <pc:sldMk cId="4036827784" sldId="302"/>
            <ac:picMk id="5" creationId="{F20E9A4E-B456-45FF-843A-ECDD5F2EC07D}"/>
          </ac:picMkLst>
        </pc:picChg>
        <pc:picChg chg="add mod">
          <ac:chgData name="Pete Puustinen" userId="afdc5376-b007-4d8e-9c19-07b3fbb81413" providerId="ADAL" clId="{09982B36-30DC-4F05-A8D4-C6BFC5ACDA92}" dt="2023-11-17T09:50:04.891" v="222" actId="1076"/>
          <ac:picMkLst>
            <pc:docMk/>
            <pc:sldMk cId="4036827784" sldId="302"/>
            <ac:picMk id="7" creationId="{D8DA2F0D-BE3A-8128-EAC8-BEC70DE825C1}"/>
          </ac:picMkLst>
        </pc:picChg>
      </pc:sldChg>
      <pc:sldChg chg="modSp mod">
        <pc:chgData name="Pete Puustinen" userId="afdc5376-b007-4d8e-9c19-07b3fbb81413" providerId="ADAL" clId="{09982B36-30DC-4F05-A8D4-C6BFC5ACDA92}" dt="2023-11-17T10:51:54.512" v="275"/>
        <pc:sldMkLst>
          <pc:docMk/>
          <pc:sldMk cId="2914719712" sldId="303"/>
        </pc:sldMkLst>
        <pc:spChg chg="mod">
          <ac:chgData name="Pete Puustinen" userId="afdc5376-b007-4d8e-9c19-07b3fbb81413" providerId="ADAL" clId="{09982B36-30DC-4F05-A8D4-C6BFC5ACDA92}" dt="2023-11-17T10:51:54.512" v="275"/>
          <ac:spMkLst>
            <pc:docMk/>
            <pc:sldMk cId="2914719712" sldId="303"/>
            <ac:spMk id="5" creationId="{270772B2-E2CF-4F97-AE25-93E543EF39F4}"/>
          </ac:spMkLst>
        </pc:spChg>
      </pc:sldChg>
      <pc:sldChg chg="modSp mod">
        <pc:chgData name="Pete Puustinen" userId="afdc5376-b007-4d8e-9c19-07b3fbb81413" providerId="ADAL" clId="{09982B36-30DC-4F05-A8D4-C6BFC5ACDA92}" dt="2023-11-17T10:51:54.513" v="276"/>
        <pc:sldMkLst>
          <pc:docMk/>
          <pc:sldMk cId="1831928673" sldId="304"/>
        </pc:sldMkLst>
        <pc:spChg chg="mod">
          <ac:chgData name="Pete Puustinen" userId="afdc5376-b007-4d8e-9c19-07b3fbb81413" providerId="ADAL" clId="{09982B36-30DC-4F05-A8D4-C6BFC5ACDA92}" dt="2023-11-17T10:51:54.513" v="276"/>
          <ac:spMkLst>
            <pc:docMk/>
            <pc:sldMk cId="1831928673" sldId="304"/>
            <ac:spMk id="6" creationId="{FF67758A-0ABC-36BA-C90F-A1020526AD06}"/>
          </ac:spMkLst>
        </pc:spChg>
      </pc:sldChg>
      <pc:sldChg chg="modSp mod">
        <pc:chgData name="Pete Puustinen" userId="afdc5376-b007-4d8e-9c19-07b3fbb81413" providerId="ADAL" clId="{09982B36-30DC-4F05-A8D4-C6BFC5ACDA92}" dt="2023-11-17T10:51:54.510" v="274"/>
        <pc:sldMkLst>
          <pc:docMk/>
          <pc:sldMk cId="1005704245" sldId="307"/>
        </pc:sldMkLst>
        <pc:spChg chg="mod">
          <ac:chgData name="Pete Puustinen" userId="afdc5376-b007-4d8e-9c19-07b3fbb81413" providerId="ADAL" clId="{09982B36-30DC-4F05-A8D4-C6BFC5ACDA92}" dt="2023-11-17T10:51:54.510" v="274"/>
          <ac:spMkLst>
            <pc:docMk/>
            <pc:sldMk cId="1005704245" sldId="307"/>
            <ac:spMk id="5" creationId="{77DC4D48-B32D-ACA2-92E8-37B4502A5066}"/>
          </ac:spMkLst>
        </pc:spChg>
      </pc:sldChg>
      <pc:sldChg chg="modSp mod">
        <pc:chgData name="Pete Puustinen" userId="afdc5376-b007-4d8e-9c19-07b3fbb81413" providerId="ADAL" clId="{09982B36-30DC-4F05-A8D4-C6BFC5ACDA92}" dt="2023-11-17T10:51:54.508" v="273"/>
        <pc:sldMkLst>
          <pc:docMk/>
          <pc:sldMk cId="2151083639" sldId="308"/>
        </pc:sldMkLst>
        <pc:spChg chg="mod">
          <ac:chgData name="Pete Puustinen" userId="afdc5376-b007-4d8e-9c19-07b3fbb81413" providerId="ADAL" clId="{09982B36-30DC-4F05-A8D4-C6BFC5ACDA92}" dt="2023-11-17T10:51:54.508" v="273"/>
          <ac:spMkLst>
            <pc:docMk/>
            <pc:sldMk cId="2151083639" sldId="308"/>
            <ac:spMk id="5" creationId="{EAEDD1CF-2689-442F-0FAC-52889E2B52BB}"/>
          </ac:spMkLst>
        </pc:spChg>
      </pc:sldChg>
      <pc:sldChg chg="addSp modSp mod">
        <pc:chgData name="Pete Puustinen" userId="afdc5376-b007-4d8e-9c19-07b3fbb81413" providerId="ADAL" clId="{09982B36-30DC-4F05-A8D4-C6BFC5ACDA92}" dt="2023-11-17T10:51:54.508" v="272"/>
        <pc:sldMkLst>
          <pc:docMk/>
          <pc:sldMk cId="2758667512" sldId="311"/>
        </pc:sldMkLst>
        <pc:spChg chg="mod">
          <ac:chgData name="Pete Puustinen" userId="afdc5376-b007-4d8e-9c19-07b3fbb81413" providerId="ADAL" clId="{09982B36-30DC-4F05-A8D4-C6BFC5ACDA92}" dt="2023-11-17T10:00:20.030" v="244" actId="14100"/>
          <ac:spMkLst>
            <pc:docMk/>
            <pc:sldMk cId="2758667512" sldId="311"/>
            <ac:spMk id="2" creationId="{E0DCCC6D-05C4-4092-8C9D-AA0D46C1A281}"/>
          </ac:spMkLst>
        </pc:spChg>
        <pc:spChg chg="mod">
          <ac:chgData name="Pete Puustinen" userId="afdc5376-b007-4d8e-9c19-07b3fbb81413" providerId="ADAL" clId="{09982B36-30DC-4F05-A8D4-C6BFC5ACDA92}" dt="2023-11-17T10:51:54.508" v="272"/>
          <ac:spMkLst>
            <pc:docMk/>
            <pc:sldMk cId="2758667512" sldId="311"/>
            <ac:spMk id="5" creationId="{9CE952BF-C91A-EF46-032E-641223291D9F}"/>
          </ac:spMkLst>
        </pc:spChg>
        <pc:spChg chg="add mod">
          <ac:chgData name="Pete Puustinen" userId="afdc5376-b007-4d8e-9c19-07b3fbb81413" providerId="ADAL" clId="{09982B36-30DC-4F05-A8D4-C6BFC5ACDA92}" dt="2023-11-17T10:00:11.985" v="243" actId="1037"/>
          <ac:spMkLst>
            <pc:docMk/>
            <pc:sldMk cId="2758667512" sldId="311"/>
            <ac:spMk id="7" creationId="{B24A83B8-8D39-5505-869F-FAD5677954EE}"/>
          </ac:spMkLst>
        </pc:spChg>
        <pc:picChg chg="add mod">
          <ac:chgData name="Pete Puustinen" userId="afdc5376-b007-4d8e-9c19-07b3fbb81413" providerId="ADAL" clId="{09982B36-30DC-4F05-A8D4-C6BFC5ACDA92}" dt="2023-11-17T10:00:07.156" v="230" actId="1076"/>
          <ac:picMkLst>
            <pc:docMk/>
            <pc:sldMk cId="2758667512" sldId="311"/>
            <ac:picMk id="6" creationId="{4723AF56-0BA5-820C-0AD2-41AC4B612738}"/>
          </ac:picMkLst>
        </pc:picChg>
      </pc:sldChg>
      <pc:sldChg chg="addSp delSp modSp mod">
        <pc:chgData name="Pete Puustinen" userId="afdc5376-b007-4d8e-9c19-07b3fbb81413" providerId="ADAL" clId="{09982B36-30DC-4F05-A8D4-C6BFC5ACDA92}" dt="2023-11-17T10:55:13.324" v="329" actId="20577"/>
        <pc:sldMkLst>
          <pc:docMk/>
          <pc:sldMk cId="233397814" sldId="312"/>
        </pc:sldMkLst>
        <pc:spChg chg="mod">
          <ac:chgData name="Pete Puustinen" userId="afdc5376-b007-4d8e-9c19-07b3fbb81413" providerId="ADAL" clId="{09982B36-30DC-4F05-A8D4-C6BFC5ACDA92}" dt="2023-11-17T10:55:13.324" v="329" actId="20577"/>
          <ac:spMkLst>
            <pc:docMk/>
            <pc:sldMk cId="233397814" sldId="312"/>
            <ac:spMk id="2" creationId="{E0DCCC6D-05C4-4092-8C9D-AA0D46C1A281}"/>
          </ac:spMkLst>
        </pc:spChg>
        <pc:spChg chg="mod">
          <ac:chgData name="Pete Puustinen" userId="afdc5376-b007-4d8e-9c19-07b3fbb81413" providerId="ADAL" clId="{09982B36-30DC-4F05-A8D4-C6BFC5ACDA92}" dt="2023-11-17T10:01:02.486" v="247" actId="14100"/>
          <ac:spMkLst>
            <pc:docMk/>
            <pc:sldMk cId="233397814" sldId="312"/>
            <ac:spMk id="3" creationId="{00000000-0000-0000-0000-000000000000}"/>
          </ac:spMkLst>
        </pc:spChg>
        <pc:spChg chg="mod">
          <ac:chgData name="Pete Puustinen" userId="afdc5376-b007-4d8e-9c19-07b3fbb81413" providerId="ADAL" clId="{09982B36-30DC-4F05-A8D4-C6BFC5ACDA92}" dt="2023-11-17T10:01:15.145" v="250" actId="20577"/>
          <ac:spMkLst>
            <pc:docMk/>
            <pc:sldMk cId="233397814" sldId="312"/>
            <ac:spMk id="4" creationId="{9B5E814D-BCDE-404A-A182-6AFC5E059337}"/>
          </ac:spMkLst>
        </pc:spChg>
        <pc:spChg chg="mod">
          <ac:chgData name="Pete Puustinen" userId="afdc5376-b007-4d8e-9c19-07b3fbb81413" providerId="ADAL" clId="{09982B36-30DC-4F05-A8D4-C6BFC5ACDA92}" dt="2023-11-17T10:51:54.507" v="271"/>
          <ac:spMkLst>
            <pc:docMk/>
            <pc:sldMk cId="233397814" sldId="312"/>
            <ac:spMk id="6" creationId="{E33BFED7-A22E-373D-5B76-490F6BAE7316}"/>
          </ac:spMkLst>
        </pc:spChg>
        <pc:picChg chg="del">
          <ac:chgData name="Pete Puustinen" userId="afdc5376-b007-4d8e-9c19-07b3fbb81413" providerId="ADAL" clId="{09982B36-30DC-4F05-A8D4-C6BFC5ACDA92}" dt="2023-11-17T10:01:05.039" v="248" actId="478"/>
          <ac:picMkLst>
            <pc:docMk/>
            <pc:sldMk cId="233397814" sldId="312"/>
            <ac:picMk id="5" creationId="{D405472B-9EB1-4871-B399-D28D826EA981}"/>
          </ac:picMkLst>
        </pc:picChg>
        <pc:picChg chg="add mod">
          <ac:chgData name="Pete Puustinen" userId="afdc5376-b007-4d8e-9c19-07b3fbb81413" providerId="ADAL" clId="{09982B36-30DC-4F05-A8D4-C6BFC5ACDA92}" dt="2023-11-17T10:01:26.899" v="254" actId="1076"/>
          <ac:picMkLst>
            <pc:docMk/>
            <pc:sldMk cId="233397814" sldId="312"/>
            <ac:picMk id="7" creationId="{B600D8C4-97B1-D6C7-A9E5-8F3688633145}"/>
          </ac:picMkLst>
        </pc:picChg>
      </pc:sldChg>
      <pc:sldChg chg="modSp del mod">
        <pc:chgData name="Pete Puustinen" userId="afdc5376-b007-4d8e-9c19-07b3fbb81413" providerId="ADAL" clId="{09982B36-30DC-4F05-A8D4-C6BFC5ACDA92}" dt="2023-11-17T10:54:00.118" v="314" actId="47"/>
        <pc:sldMkLst>
          <pc:docMk/>
          <pc:sldMk cId="1951981370" sldId="313"/>
        </pc:sldMkLst>
        <pc:spChg chg="mod">
          <ac:chgData name="Pete Puustinen" userId="afdc5376-b007-4d8e-9c19-07b3fbb81413" providerId="ADAL" clId="{09982B36-30DC-4F05-A8D4-C6BFC5ACDA92}" dt="2023-11-17T10:51:54.505" v="270"/>
          <ac:spMkLst>
            <pc:docMk/>
            <pc:sldMk cId="1951981370" sldId="313"/>
            <ac:spMk id="5" creationId="{721D9993-A6B9-42CC-590E-ECFDDF0C9688}"/>
          </ac:spMkLst>
        </pc:spChg>
      </pc:sldChg>
      <pc:sldChg chg="del">
        <pc:chgData name="Pete Puustinen" userId="afdc5376-b007-4d8e-9c19-07b3fbb81413" providerId="ADAL" clId="{09982B36-30DC-4F05-A8D4-C6BFC5ACDA92}" dt="2023-11-17T10:51:04.664" v="258" actId="47"/>
        <pc:sldMkLst>
          <pc:docMk/>
          <pc:sldMk cId="1945749940" sldId="314"/>
        </pc:sldMkLst>
      </pc:sldChg>
      <pc:sldChg chg="addSp delSp modSp mod">
        <pc:chgData name="Pete Puustinen" userId="afdc5376-b007-4d8e-9c19-07b3fbb81413" providerId="ADAL" clId="{09982B36-30DC-4F05-A8D4-C6BFC5ACDA92}" dt="2023-11-17T10:56:44.026" v="343"/>
        <pc:sldMkLst>
          <pc:docMk/>
          <pc:sldMk cId="4085350765" sldId="315"/>
        </pc:sldMkLst>
        <pc:spChg chg="mod">
          <ac:chgData name="Pete Puustinen" userId="afdc5376-b007-4d8e-9c19-07b3fbb81413" providerId="ADAL" clId="{09982B36-30DC-4F05-A8D4-C6BFC5ACDA92}" dt="2023-11-17T10:51:54.503" v="269"/>
          <ac:spMkLst>
            <pc:docMk/>
            <pc:sldMk cId="4085350765" sldId="315"/>
            <ac:spMk id="2" creationId="{72DBED7A-FC6F-155B-DA44-2D997E549CBA}"/>
          </ac:spMkLst>
        </pc:spChg>
        <pc:spChg chg="add mod">
          <ac:chgData name="Pete Puustinen" userId="afdc5376-b007-4d8e-9c19-07b3fbb81413" providerId="ADAL" clId="{09982B36-30DC-4F05-A8D4-C6BFC5ACDA92}" dt="2023-11-17T10:56:44.026" v="343"/>
          <ac:spMkLst>
            <pc:docMk/>
            <pc:sldMk cId="4085350765" sldId="315"/>
            <ac:spMk id="5" creationId="{326F790D-36BD-8408-A646-D2D29BBB520E}"/>
          </ac:spMkLst>
        </pc:spChg>
        <pc:graphicFrameChg chg="add mod">
          <ac:chgData name="Pete Puustinen" userId="afdc5376-b007-4d8e-9c19-07b3fbb81413" providerId="ADAL" clId="{09982B36-30DC-4F05-A8D4-C6BFC5ACDA92}" dt="2023-11-17T10:56:44.026" v="343"/>
          <ac:graphicFrameMkLst>
            <pc:docMk/>
            <pc:sldMk cId="4085350765" sldId="315"/>
            <ac:graphicFrameMk id="6" creationId="{49EC7976-E6D5-1D67-5731-0EC15257AE78}"/>
          </ac:graphicFrameMkLst>
        </pc:graphicFrameChg>
        <pc:graphicFrameChg chg="del">
          <ac:chgData name="Pete Puustinen" userId="afdc5376-b007-4d8e-9c19-07b3fbb81413" providerId="ADAL" clId="{09982B36-30DC-4F05-A8D4-C6BFC5ACDA92}" dt="2023-11-17T10:51:12.383" v="259" actId="478"/>
          <ac:graphicFrameMkLst>
            <pc:docMk/>
            <pc:sldMk cId="4085350765" sldId="315"/>
            <ac:graphicFrameMk id="16" creationId="{7C6C1690-7742-4E2E-A0DA-9FFE8ED4DB9A}"/>
          </ac:graphicFrameMkLst>
        </pc:graphicFrameChg>
      </pc:sldChg>
      <pc:sldChg chg="modSp mod">
        <pc:chgData name="Pete Puustinen" userId="afdc5376-b007-4d8e-9c19-07b3fbb81413" providerId="ADAL" clId="{09982B36-30DC-4F05-A8D4-C6BFC5ACDA92}" dt="2023-11-17T10:51:54.501" v="267"/>
        <pc:sldMkLst>
          <pc:docMk/>
          <pc:sldMk cId="2667324473" sldId="316"/>
        </pc:sldMkLst>
        <pc:spChg chg="mod">
          <ac:chgData name="Pete Puustinen" userId="afdc5376-b007-4d8e-9c19-07b3fbb81413" providerId="ADAL" clId="{09982B36-30DC-4F05-A8D4-C6BFC5ACDA92}" dt="2023-11-17T10:51:54.501" v="267"/>
          <ac:spMkLst>
            <pc:docMk/>
            <pc:sldMk cId="2667324473" sldId="316"/>
            <ac:spMk id="5" creationId="{4FBE1636-7A58-3679-2AE1-FBAE0FB42DFF}"/>
          </ac:spMkLst>
        </pc:spChg>
      </pc:sldChg>
      <pc:sldChg chg="modSp mod">
        <pc:chgData name="Pete Puustinen" userId="afdc5376-b007-4d8e-9c19-07b3fbb81413" providerId="ADAL" clId="{09982B36-30DC-4F05-A8D4-C6BFC5ACDA92}" dt="2023-11-17T10:51:54.498" v="264"/>
        <pc:sldMkLst>
          <pc:docMk/>
          <pc:sldMk cId="4139698663" sldId="320"/>
        </pc:sldMkLst>
        <pc:spChg chg="mod">
          <ac:chgData name="Pete Puustinen" userId="afdc5376-b007-4d8e-9c19-07b3fbb81413" providerId="ADAL" clId="{09982B36-30DC-4F05-A8D4-C6BFC5ACDA92}" dt="2023-11-17T10:51:54.498" v="264"/>
          <ac:spMkLst>
            <pc:docMk/>
            <pc:sldMk cId="4139698663" sldId="320"/>
            <ac:spMk id="9" creationId="{8835F811-BDE2-2A92-06C4-1A0C057C2DBB}"/>
          </ac:spMkLst>
        </pc:spChg>
      </pc:sldChg>
      <pc:sldChg chg="modSp mod">
        <pc:chgData name="Pete Puustinen" userId="afdc5376-b007-4d8e-9c19-07b3fbb81413" providerId="ADAL" clId="{09982B36-30DC-4F05-A8D4-C6BFC5ACDA92}" dt="2023-11-17T10:51:54.522" v="283"/>
        <pc:sldMkLst>
          <pc:docMk/>
          <pc:sldMk cId="3553586215" sldId="2076137911"/>
        </pc:sldMkLst>
        <pc:spChg chg="mod">
          <ac:chgData name="Pete Puustinen" userId="afdc5376-b007-4d8e-9c19-07b3fbb81413" providerId="ADAL" clId="{09982B36-30DC-4F05-A8D4-C6BFC5ACDA92}" dt="2023-11-17T10:51:54.522" v="283"/>
          <ac:spMkLst>
            <pc:docMk/>
            <pc:sldMk cId="3553586215" sldId="2076137911"/>
            <ac:spMk id="5" creationId="{2169AFAD-96F9-8FF1-0626-B1B23F2649D3}"/>
          </ac:spMkLst>
        </pc:spChg>
      </pc:sldChg>
      <pc:sldChg chg="modSp mod">
        <pc:chgData name="Pete Puustinen" userId="afdc5376-b007-4d8e-9c19-07b3fbb81413" providerId="ADAL" clId="{09982B36-30DC-4F05-A8D4-C6BFC5ACDA92}" dt="2023-11-17T10:51:54.538" v="295"/>
        <pc:sldMkLst>
          <pc:docMk/>
          <pc:sldMk cId="1172305725" sldId="2123258573"/>
        </pc:sldMkLst>
        <pc:spChg chg="mod">
          <ac:chgData name="Pete Puustinen" userId="afdc5376-b007-4d8e-9c19-07b3fbb81413" providerId="ADAL" clId="{09982B36-30DC-4F05-A8D4-C6BFC5ACDA92}" dt="2023-11-17T10:51:54.538" v="295"/>
          <ac:spMkLst>
            <pc:docMk/>
            <pc:sldMk cId="1172305725" sldId="2123258573"/>
            <ac:spMk id="6" creationId="{63C16CAE-8D84-70D0-D28D-C5BF5E76B075}"/>
          </ac:spMkLst>
        </pc:spChg>
      </pc:sldChg>
      <pc:sldChg chg="modSp mod">
        <pc:chgData name="Pete Puustinen" userId="afdc5376-b007-4d8e-9c19-07b3fbb81413" providerId="ADAL" clId="{09982B36-30DC-4F05-A8D4-C6BFC5ACDA92}" dt="2023-11-17T10:51:54.500" v="266"/>
        <pc:sldMkLst>
          <pc:docMk/>
          <pc:sldMk cId="91185291" sldId="2123258575"/>
        </pc:sldMkLst>
        <pc:spChg chg="mod">
          <ac:chgData name="Pete Puustinen" userId="afdc5376-b007-4d8e-9c19-07b3fbb81413" providerId="ADAL" clId="{09982B36-30DC-4F05-A8D4-C6BFC5ACDA92}" dt="2023-11-17T10:51:54.500" v="266"/>
          <ac:spMkLst>
            <pc:docMk/>
            <pc:sldMk cId="91185291" sldId="2123258575"/>
            <ac:spMk id="5" creationId="{0E014834-803E-BA92-385E-B84D1B9DB6E3}"/>
          </ac:spMkLst>
        </pc:spChg>
      </pc:sldChg>
      <pc:sldChg chg="modSp mod">
        <pc:chgData name="Pete Puustinen" userId="afdc5376-b007-4d8e-9c19-07b3fbb81413" providerId="ADAL" clId="{09982B36-30DC-4F05-A8D4-C6BFC5ACDA92}" dt="2023-11-17T10:51:54.499" v="265"/>
        <pc:sldMkLst>
          <pc:docMk/>
          <pc:sldMk cId="1484778796" sldId="2123258576"/>
        </pc:sldMkLst>
        <pc:spChg chg="mod">
          <ac:chgData name="Pete Puustinen" userId="afdc5376-b007-4d8e-9c19-07b3fbb81413" providerId="ADAL" clId="{09982B36-30DC-4F05-A8D4-C6BFC5ACDA92}" dt="2023-11-17T10:51:54.499" v="265"/>
          <ac:spMkLst>
            <pc:docMk/>
            <pc:sldMk cId="1484778796" sldId="2123258576"/>
            <ac:spMk id="5" creationId="{69FF3C8B-3512-0EE2-B20D-6696847DA4A1}"/>
          </ac:spMkLst>
        </pc:spChg>
      </pc:sldChg>
      <pc:sldChg chg="modSp mod">
        <pc:chgData name="Pete Puustinen" userId="afdc5376-b007-4d8e-9c19-07b3fbb81413" providerId="ADAL" clId="{09982B36-30DC-4F05-A8D4-C6BFC5ACDA92}" dt="2023-11-17T10:51:54.531" v="290"/>
        <pc:sldMkLst>
          <pc:docMk/>
          <pc:sldMk cId="3167219428" sldId="2123258578"/>
        </pc:sldMkLst>
        <pc:spChg chg="mod">
          <ac:chgData name="Pete Puustinen" userId="afdc5376-b007-4d8e-9c19-07b3fbb81413" providerId="ADAL" clId="{09982B36-30DC-4F05-A8D4-C6BFC5ACDA92}" dt="2023-11-17T10:51:54.531" v="290"/>
          <ac:spMkLst>
            <pc:docMk/>
            <pc:sldMk cId="3167219428" sldId="2123258578"/>
            <ac:spMk id="4" creationId="{EB94D7C1-6A0F-B3DD-E442-A496518094F5}"/>
          </ac:spMkLst>
        </pc:spChg>
      </pc:sldChg>
      <pc:sldChg chg="modSp mod">
        <pc:chgData name="Pete Puustinen" userId="afdc5376-b007-4d8e-9c19-07b3fbb81413" providerId="ADAL" clId="{09982B36-30DC-4F05-A8D4-C6BFC5ACDA92}" dt="2023-11-17T10:51:54.526" v="286"/>
        <pc:sldMkLst>
          <pc:docMk/>
          <pc:sldMk cId="3357320843" sldId="2123258580"/>
        </pc:sldMkLst>
        <pc:spChg chg="mod">
          <ac:chgData name="Pete Puustinen" userId="afdc5376-b007-4d8e-9c19-07b3fbb81413" providerId="ADAL" clId="{09982B36-30DC-4F05-A8D4-C6BFC5ACDA92}" dt="2023-11-17T09:35:50.253" v="185" actId="20577"/>
          <ac:spMkLst>
            <pc:docMk/>
            <pc:sldMk cId="3357320843" sldId="2123258580"/>
            <ac:spMk id="3" creationId="{00000000-0000-0000-0000-000000000000}"/>
          </ac:spMkLst>
        </pc:spChg>
        <pc:spChg chg="mod">
          <ac:chgData name="Pete Puustinen" userId="afdc5376-b007-4d8e-9c19-07b3fbb81413" providerId="ADAL" clId="{09982B36-30DC-4F05-A8D4-C6BFC5ACDA92}" dt="2023-11-17T10:51:54.526" v="286"/>
          <ac:spMkLst>
            <pc:docMk/>
            <pc:sldMk cId="3357320843" sldId="2123258580"/>
            <ac:spMk id="5" creationId="{51E1E419-3250-671B-23E3-34BBE5861FA5}"/>
          </ac:spMkLst>
        </pc:spChg>
      </pc:sldChg>
      <pc:sldChg chg="modSp mod">
        <pc:chgData name="Pete Puustinen" userId="afdc5376-b007-4d8e-9c19-07b3fbb81413" providerId="ADAL" clId="{09982B36-30DC-4F05-A8D4-C6BFC5ACDA92}" dt="2023-11-17T10:51:54.559" v="312"/>
        <pc:sldMkLst>
          <pc:docMk/>
          <pc:sldMk cId="641711193" sldId="2147469902"/>
        </pc:sldMkLst>
        <pc:spChg chg="mod">
          <ac:chgData name="Pete Puustinen" userId="afdc5376-b007-4d8e-9c19-07b3fbb81413" providerId="ADAL" clId="{09982B36-30DC-4F05-A8D4-C6BFC5ACDA92}" dt="2023-11-17T10:51:54.559" v="312"/>
          <ac:spMkLst>
            <pc:docMk/>
            <pc:sldMk cId="641711193" sldId="2147469902"/>
            <ac:spMk id="93" creationId="{ECD277A2-DA01-4024-A1E9-96359B541ED7}"/>
          </ac:spMkLst>
        </pc:spChg>
      </pc:sldChg>
      <pc:sldChg chg="modSp mod">
        <pc:chgData name="Pete Puustinen" userId="afdc5376-b007-4d8e-9c19-07b3fbb81413" providerId="ADAL" clId="{09982B36-30DC-4F05-A8D4-C6BFC5ACDA92}" dt="2023-11-17T10:51:54.561" v="313"/>
        <pc:sldMkLst>
          <pc:docMk/>
          <pc:sldMk cId="1901977838" sldId="2147469910"/>
        </pc:sldMkLst>
        <pc:spChg chg="mod">
          <ac:chgData name="Pete Puustinen" userId="afdc5376-b007-4d8e-9c19-07b3fbb81413" providerId="ADAL" clId="{09982B36-30DC-4F05-A8D4-C6BFC5ACDA92}" dt="2023-11-17T10:51:54.561" v="313"/>
          <ac:spMkLst>
            <pc:docMk/>
            <pc:sldMk cId="1901977838" sldId="2147469910"/>
            <ac:spMk id="19" creationId="{A04B054A-A721-4144-96FE-966534FB355F}"/>
          </ac:spMkLst>
        </pc:spChg>
      </pc:sldChg>
      <pc:sldChg chg="modSp mod">
        <pc:chgData name="Pete Puustinen" userId="afdc5376-b007-4d8e-9c19-07b3fbb81413" providerId="ADAL" clId="{09982B36-30DC-4F05-A8D4-C6BFC5ACDA92}" dt="2023-11-17T10:51:54.557" v="311"/>
        <pc:sldMkLst>
          <pc:docMk/>
          <pc:sldMk cId="587622894" sldId="2147469911"/>
        </pc:sldMkLst>
        <pc:spChg chg="mod">
          <ac:chgData name="Pete Puustinen" userId="afdc5376-b007-4d8e-9c19-07b3fbb81413" providerId="ADAL" clId="{09982B36-30DC-4F05-A8D4-C6BFC5ACDA92}" dt="2023-11-17T10:51:54.557" v="311"/>
          <ac:spMkLst>
            <pc:docMk/>
            <pc:sldMk cId="587622894" sldId="2147469911"/>
            <ac:spMk id="11" creationId="{B6557B7F-8930-45B3-8C92-8E2F48E4CF5E}"/>
          </ac:spMkLst>
        </pc:spChg>
      </pc:sldChg>
      <pc:sldChg chg="modSp mod">
        <pc:chgData name="Pete Puustinen" userId="afdc5376-b007-4d8e-9c19-07b3fbb81413" providerId="ADAL" clId="{09982B36-30DC-4F05-A8D4-C6BFC5ACDA92}" dt="2023-11-17T10:51:54.548" v="304"/>
        <pc:sldMkLst>
          <pc:docMk/>
          <pc:sldMk cId="1085996625" sldId="2147469912"/>
        </pc:sldMkLst>
        <pc:spChg chg="mod">
          <ac:chgData name="Pete Puustinen" userId="afdc5376-b007-4d8e-9c19-07b3fbb81413" providerId="ADAL" clId="{09982B36-30DC-4F05-A8D4-C6BFC5ACDA92}" dt="2023-11-17T10:51:54.548" v="304"/>
          <ac:spMkLst>
            <pc:docMk/>
            <pc:sldMk cId="1085996625" sldId="2147469912"/>
            <ac:spMk id="11" creationId="{B6557B7F-8930-45B3-8C92-8E2F48E4CF5E}"/>
          </ac:spMkLst>
        </pc:spChg>
      </pc:sldChg>
      <pc:sldChg chg="modSp mod">
        <pc:chgData name="Pete Puustinen" userId="afdc5376-b007-4d8e-9c19-07b3fbb81413" providerId="ADAL" clId="{09982B36-30DC-4F05-A8D4-C6BFC5ACDA92}" dt="2023-11-17T10:51:54.528" v="288"/>
        <pc:sldMkLst>
          <pc:docMk/>
          <pc:sldMk cId="1217924211" sldId="2147469913"/>
        </pc:sldMkLst>
        <pc:spChg chg="mod">
          <ac:chgData name="Pete Puustinen" userId="afdc5376-b007-4d8e-9c19-07b3fbb81413" providerId="ADAL" clId="{09982B36-30DC-4F05-A8D4-C6BFC5ACDA92}" dt="2023-11-17T10:51:54.528" v="288"/>
          <ac:spMkLst>
            <pc:docMk/>
            <pc:sldMk cId="1217924211" sldId="2147469913"/>
            <ac:spMk id="11" creationId="{B6557B7F-8930-45B3-8C92-8E2F48E4CF5E}"/>
          </ac:spMkLst>
        </pc:spChg>
      </pc:sldChg>
      <pc:sldChg chg="del">
        <pc:chgData name="Pete Puustinen" userId="afdc5376-b007-4d8e-9c19-07b3fbb81413" providerId="ADAL" clId="{09982B36-30DC-4F05-A8D4-C6BFC5ACDA92}" dt="2023-11-17T09:59:27.699" v="223" actId="47"/>
        <pc:sldMkLst>
          <pc:docMk/>
          <pc:sldMk cId="2233480200" sldId="2147469914"/>
        </pc:sldMkLst>
      </pc:sldChg>
      <pc:sldChg chg="modSp mod">
        <pc:chgData name="Pete Puustinen" userId="afdc5376-b007-4d8e-9c19-07b3fbb81413" providerId="ADAL" clId="{09982B36-30DC-4F05-A8D4-C6BFC5ACDA92}" dt="2023-11-17T10:51:54.502" v="268"/>
        <pc:sldMkLst>
          <pc:docMk/>
          <pc:sldMk cId="1512546412" sldId="2147469915"/>
        </pc:sldMkLst>
        <pc:spChg chg="mod">
          <ac:chgData name="Pete Puustinen" userId="afdc5376-b007-4d8e-9c19-07b3fbb81413" providerId="ADAL" clId="{09982B36-30DC-4F05-A8D4-C6BFC5ACDA92}" dt="2023-11-17T10:51:54.502" v="268"/>
          <ac:spMkLst>
            <pc:docMk/>
            <pc:sldMk cId="1512546412" sldId="2147469915"/>
            <ac:spMk id="11" creationId="{B6557B7F-8930-45B3-8C92-8E2F48E4CF5E}"/>
          </ac:spMkLst>
        </pc:spChg>
      </pc:sldChg>
      <pc:sldChg chg="modSp mod">
        <pc:chgData name="Pete Puustinen" userId="afdc5376-b007-4d8e-9c19-07b3fbb81413" providerId="ADAL" clId="{09982B36-30DC-4F05-A8D4-C6BFC5ACDA92}" dt="2023-11-17T10:51:54.497" v="263"/>
        <pc:sldMkLst>
          <pc:docMk/>
          <pc:sldMk cId="3251379341" sldId="2147469916"/>
        </pc:sldMkLst>
        <pc:spChg chg="mod">
          <ac:chgData name="Pete Puustinen" userId="afdc5376-b007-4d8e-9c19-07b3fbb81413" providerId="ADAL" clId="{09982B36-30DC-4F05-A8D4-C6BFC5ACDA92}" dt="2023-11-17T10:51:54.497" v="263"/>
          <ac:spMkLst>
            <pc:docMk/>
            <pc:sldMk cId="3251379341" sldId="2147469916"/>
            <ac:spMk id="11" creationId="{B6557B7F-8930-45B3-8C92-8E2F48E4CF5E}"/>
          </ac:spMkLst>
        </pc:spChg>
      </pc:sldChg>
      <pc:sldChg chg="modSp mod">
        <pc:chgData name="Pete Puustinen" userId="afdc5376-b007-4d8e-9c19-07b3fbb81413" providerId="ADAL" clId="{09982B36-30DC-4F05-A8D4-C6BFC5ACDA92}" dt="2023-11-17T10:51:54.495" v="262"/>
        <pc:sldMkLst>
          <pc:docMk/>
          <pc:sldMk cId="4276723870" sldId="2147469917"/>
        </pc:sldMkLst>
        <pc:spChg chg="mod">
          <ac:chgData name="Pete Puustinen" userId="afdc5376-b007-4d8e-9c19-07b3fbb81413" providerId="ADAL" clId="{09982B36-30DC-4F05-A8D4-C6BFC5ACDA92}" dt="2023-11-17T10:51:54.495" v="262"/>
          <ac:spMkLst>
            <pc:docMk/>
            <pc:sldMk cId="4276723870" sldId="2147469917"/>
            <ac:spMk id="9" creationId="{7AC4F3CB-40F5-4D01-8BB6-1D1FE1099E94}"/>
          </ac:spMkLst>
        </pc:spChg>
      </pc:sldChg>
      <pc:sldChg chg="modSp mod">
        <pc:chgData name="Pete Puustinen" userId="afdc5376-b007-4d8e-9c19-07b3fbb81413" providerId="ADAL" clId="{09982B36-30DC-4F05-A8D4-C6BFC5ACDA92}" dt="2023-11-17T10:51:54.491" v="260"/>
        <pc:sldMkLst>
          <pc:docMk/>
          <pc:sldMk cId="2694062714" sldId="2147469918"/>
        </pc:sldMkLst>
        <pc:spChg chg="mod">
          <ac:chgData name="Pete Puustinen" userId="afdc5376-b007-4d8e-9c19-07b3fbb81413" providerId="ADAL" clId="{09982B36-30DC-4F05-A8D4-C6BFC5ACDA92}" dt="2023-11-17T10:51:54.491" v="260"/>
          <ac:spMkLst>
            <pc:docMk/>
            <pc:sldMk cId="2694062714" sldId="2147469918"/>
            <ac:spMk id="17" creationId="{E243B2FB-C5E3-4E84-87ED-FB0A2A1A0F89}"/>
          </ac:spMkLst>
        </pc:spChg>
      </pc:sldChg>
      <pc:sldChg chg="modSp mod">
        <pc:chgData name="Pete Puustinen" userId="afdc5376-b007-4d8e-9c19-07b3fbb81413" providerId="ADAL" clId="{09982B36-30DC-4F05-A8D4-C6BFC5ACDA92}" dt="2023-11-17T10:51:54.525" v="285"/>
        <pc:sldMkLst>
          <pc:docMk/>
          <pc:sldMk cId="3821480253" sldId="2147469919"/>
        </pc:sldMkLst>
        <pc:spChg chg="mod">
          <ac:chgData name="Pete Puustinen" userId="afdc5376-b007-4d8e-9c19-07b3fbb81413" providerId="ADAL" clId="{09982B36-30DC-4F05-A8D4-C6BFC5ACDA92}" dt="2023-11-17T10:51:54.525" v="285"/>
          <ac:spMkLst>
            <pc:docMk/>
            <pc:sldMk cId="3821480253" sldId="2147469919"/>
            <ac:spMk id="2" creationId="{442B6223-EB2D-5E34-338B-3980D33F932E}"/>
          </ac:spMkLst>
        </pc:spChg>
        <pc:spChg chg="mod">
          <ac:chgData name="Pete Puustinen" userId="afdc5376-b007-4d8e-9c19-07b3fbb81413" providerId="ADAL" clId="{09982B36-30DC-4F05-A8D4-C6BFC5ACDA92}" dt="2023-11-17T09:35:54.519" v="187" actId="20577"/>
          <ac:spMkLst>
            <pc:docMk/>
            <pc:sldMk cId="3821480253" sldId="2147469919"/>
            <ac:spMk id="3" creationId="{00000000-0000-0000-0000-000000000000}"/>
          </ac:spMkLst>
        </pc:spChg>
      </pc:sldChg>
      <pc:sldChg chg="add">
        <pc:chgData name="Pete Puustinen" userId="afdc5376-b007-4d8e-9c19-07b3fbb81413" providerId="ADAL" clId="{09982B36-30DC-4F05-A8D4-C6BFC5ACDA92}" dt="2023-11-17T09:47:52.801" v="208"/>
        <pc:sldMkLst>
          <pc:docMk/>
          <pc:sldMk cId="4115030994" sldId="2147480958"/>
        </pc:sldMkLst>
      </pc:sldChg>
      <pc:sldChg chg="add">
        <pc:chgData name="Pete Puustinen" userId="afdc5376-b007-4d8e-9c19-07b3fbb81413" providerId="ADAL" clId="{09982B36-30DC-4F05-A8D4-C6BFC5ACDA92}" dt="2023-11-17T09:47:52.801" v="208"/>
        <pc:sldMkLst>
          <pc:docMk/>
          <pc:sldMk cId="3442232376" sldId="2147480959"/>
        </pc:sldMkLst>
      </pc:sldChg>
      <pc:sldChg chg="addSp delSp modSp add mod">
        <pc:chgData name="Pete Puustinen" userId="afdc5376-b007-4d8e-9c19-07b3fbb81413" providerId="ADAL" clId="{09982B36-30DC-4F05-A8D4-C6BFC5ACDA92}" dt="2023-11-17T10:55:27.225" v="333" actId="14100"/>
        <pc:sldMkLst>
          <pc:docMk/>
          <pc:sldMk cId="3711984423" sldId="2147480960"/>
        </pc:sldMkLst>
        <pc:spChg chg="mod">
          <ac:chgData name="Pete Puustinen" userId="afdc5376-b007-4d8e-9c19-07b3fbb81413" providerId="ADAL" clId="{09982B36-30DC-4F05-A8D4-C6BFC5ACDA92}" dt="2023-11-17T10:55:27.225" v="333" actId="14100"/>
          <ac:spMkLst>
            <pc:docMk/>
            <pc:sldMk cId="3711984423" sldId="2147480960"/>
            <ac:spMk id="2" creationId="{E0DCCC6D-05C4-4092-8C9D-AA0D46C1A281}"/>
          </ac:spMkLst>
        </pc:spChg>
        <pc:spChg chg="mod">
          <ac:chgData name="Pete Puustinen" userId="afdc5376-b007-4d8e-9c19-07b3fbb81413" providerId="ADAL" clId="{09982B36-30DC-4F05-A8D4-C6BFC5ACDA92}" dt="2023-11-17T10:54:23.044" v="316"/>
          <ac:spMkLst>
            <pc:docMk/>
            <pc:sldMk cId="3711984423" sldId="2147480960"/>
            <ac:spMk id="3" creationId="{00000000-0000-0000-0000-000000000000}"/>
          </ac:spMkLst>
        </pc:spChg>
        <pc:picChg chg="add mod">
          <ac:chgData name="Pete Puustinen" userId="afdc5376-b007-4d8e-9c19-07b3fbb81413" providerId="ADAL" clId="{09982B36-30DC-4F05-A8D4-C6BFC5ACDA92}" dt="2023-11-17T10:54:50.073" v="323" actId="1076"/>
          <ac:picMkLst>
            <pc:docMk/>
            <pc:sldMk cId="3711984423" sldId="2147480960"/>
            <ac:picMk id="5" creationId="{2FAC122C-883E-2888-E86E-6E60DC1D37EC}"/>
          </ac:picMkLst>
        </pc:picChg>
        <pc:picChg chg="del">
          <ac:chgData name="Pete Puustinen" userId="afdc5376-b007-4d8e-9c19-07b3fbb81413" providerId="ADAL" clId="{09982B36-30DC-4F05-A8D4-C6BFC5ACDA92}" dt="2023-11-17T10:54:24.666" v="317" actId="478"/>
          <ac:picMkLst>
            <pc:docMk/>
            <pc:sldMk cId="3711984423" sldId="2147480960"/>
            <ac:picMk id="7" creationId="{B600D8C4-97B1-D6C7-A9E5-8F3688633145}"/>
          </ac:picMkLst>
        </pc:picChg>
      </pc:sldChg>
      <pc:sldChg chg="addSp delSp modSp add mod">
        <pc:chgData name="Pete Puustinen" userId="afdc5376-b007-4d8e-9c19-07b3fbb81413" providerId="ADAL" clId="{09982B36-30DC-4F05-A8D4-C6BFC5ACDA92}" dt="2023-11-17T10:56:23.790" v="342" actId="1440"/>
        <pc:sldMkLst>
          <pc:docMk/>
          <pc:sldMk cId="926883286" sldId="2147480961"/>
        </pc:sldMkLst>
        <pc:spChg chg="mod">
          <ac:chgData name="Pete Puustinen" userId="afdc5376-b007-4d8e-9c19-07b3fbb81413" providerId="ADAL" clId="{09982B36-30DC-4F05-A8D4-C6BFC5ACDA92}" dt="2023-11-17T10:56:14.559" v="339" actId="20577"/>
          <ac:spMkLst>
            <pc:docMk/>
            <pc:sldMk cId="926883286" sldId="2147480961"/>
            <ac:spMk id="2" creationId="{E0DCCC6D-05C4-4092-8C9D-AA0D46C1A281}"/>
          </ac:spMkLst>
        </pc:spChg>
        <pc:spChg chg="mod">
          <ac:chgData name="Pete Puustinen" userId="afdc5376-b007-4d8e-9c19-07b3fbb81413" providerId="ADAL" clId="{09982B36-30DC-4F05-A8D4-C6BFC5ACDA92}" dt="2023-11-17T10:56:00.568" v="337" actId="255"/>
          <ac:spMkLst>
            <pc:docMk/>
            <pc:sldMk cId="926883286" sldId="2147480961"/>
            <ac:spMk id="3" creationId="{00000000-0000-0000-0000-000000000000}"/>
          </ac:spMkLst>
        </pc:spChg>
        <pc:picChg chg="del">
          <ac:chgData name="Pete Puustinen" userId="afdc5376-b007-4d8e-9c19-07b3fbb81413" providerId="ADAL" clId="{09982B36-30DC-4F05-A8D4-C6BFC5ACDA92}" dt="2023-11-17T10:55:51.754" v="336" actId="478"/>
          <ac:picMkLst>
            <pc:docMk/>
            <pc:sldMk cId="926883286" sldId="2147480961"/>
            <ac:picMk id="5" creationId="{2FAC122C-883E-2888-E86E-6E60DC1D37EC}"/>
          </ac:picMkLst>
        </pc:picChg>
        <pc:picChg chg="add mod">
          <ac:chgData name="Pete Puustinen" userId="afdc5376-b007-4d8e-9c19-07b3fbb81413" providerId="ADAL" clId="{09982B36-30DC-4F05-A8D4-C6BFC5ACDA92}" dt="2023-11-17T10:56:23.790" v="342" actId="1440"/>
          <ac:picMkLst>
            <pc:docMk/>
            <pc:sldMk cId="926883286" sldId="2147480961"/>
            <ac:picMk id="7" creationId="{BAADF3B7-4981-A4D4-B07D-67E5FDED241E}"/>
          </ac:picMkLst>
        </pc:picChg>
      </pc:sldChg>
    </pc:docChg>
  </pc:docChgLst>
  <pc:docChgLst>
    <pc:chgData name="Pete Puustinen" userId="afdc5376-b007-4d8e-9c19-07b3fbb81413" providerId="ADAL" clId="{64B35C1D-236B-4231-AB11-8982948B1784}"/>
    <pc:docChg chg="undo custSel addSld delSld modSld sldOrd">
      <pc:chgData name="Pete Puustinen" userId="afdc5376-b007-4d8e-9c19-07b3fbb81413" providerId="ADAL" clId="{64B35C1D-236B-4231-AB11-8982948B1784}" dt="2022-10-25T12:12:01.420" v="1782" actId="255"/>
      <pc:docMkLst>
        <pc:docMk/>
      </pc:docMkLst>
      <pc:sldChg chg="modSp mod">
        <pc:chgData name="Pete Puustinen" userId="afdc5376-b007-4d8e-9c19-07b3fbb81413" providerId="ADAL" clId="{64B35C1D-236B-4231-AB11-8982948B1784}" dt="2022-10-25T12:09:19.159" v="1779" actId="1076"/>
        <pc:sldMkLst>
          <pc:docMk/>
          <pc:sldMk cId="1385431110" sldId="263"/>
        </pc:sldMkLst>
        <pc:picChg chg="mod">
          <ac:chgData name="Pete Puustinen" userId="afdc5376-b007-4d8e-9c19-07b3fbb81413" providerId="ADAL" clId="{64B35C1D-236B-4231-AB11-8982948B1784}" dt="2022-10-25T12:09:15.522" v="1778" actId="1076"/>
          <ac:picMkLst>
            <pc:docMk/>
            <pc:sldMk cId="1385431110" sldId="263"/>
            <ac:picMk id="6" creationId="{6EC0C4F4-134F-4BD7-B971-F480F0999E7F}"/>
          </ac:picMkLst>
        </pc:picChg>
        <pc:picChg chg="mod">
          <ac:chgData name="Pete Puustinen" userId="afdc5376-b007-4d8e-9c19-07b3fbb81413" providerId="ADAL" clId="{64B35C1D-236B-4231-AB11-8982948B1784}" dt="2022-10-25T12:09:09.089" v="1777" actId="1076"/>
          <ac:picMkLst>
            <pc:docMk/>
            <pc:sldMk cId="1385431110" sldId="263"/>
            <ac:picMk id="8" creationId="{A9AC66D6-830A-4B8C-B283-7BEA46B23DB6}"/>
          </ac:picMkLst>
        </pc:picChg>
        <pc:picChg chg="mod">
          <ac:chgData name="Pete Puustinen" userId="afdc5376-b007-4d8e-9c19-07b3fbb81413" providerId="ADAL" clId="{64B35C1D-236B-4231-AB11-8982948B1784}" dt="2022-10-25T12:09:19.159" v="1779" actId="1076"/>
          <ac:picMkLst>
            <pc:docMk/>
            <pc:sldMk cId="1385431110" sldId="263"/>
            <ac:picMk id="10" creationId="{BE5F077A-48BA-49B5-AECE-EB22A7B3674C}"/>
          </ac:picMkLst>
        </pc:picChg>
      </pc:sldChg>
      <pc:sldChg chg="modSp modAnim">
        <pc:chgData name="Pete Puustinen" userId="afdc5376-b007-4d8e-9c19-07b3fbb81413" providerId="ADAL" clId="{64B35C1D-236B-4231-AB11-8982948B1784}" dt="2022-10-25T12:12:01.420" v="1782" actId="255"/>
        <pc:sldMkLst>
          <pc:docMk/>
          <pc:sldMk cId="1704127205" sldId="289"/>
        </pc:sldMkLst>
        <pc:spChg chg="mod">
          <ac:chgData name="Pete Puustinen" userId="afdc5376-b007-4d8e-9c19-07b3fbb81413" providerId="ADAL" clId="{64B35C1D-236B-4231-AB11-8982948B1784}" dt="2022-10-25T12:12:01.420" v="1782" actId="255"/>
          <ac:spMkLst>
            <pc:docMk/>
            <pc:sldMk cId="1704127205" sldId="289"/>
            <ac:spMk id="2" creationId="{E0DCCC6D-05C4-4092-8C9D-AA0D46C1A281}"/>
          </ac:spMkLst>
        </pc:spChg>
      </pc:sldChg>
      <pc:sldChg chg="modSp mod">
        <pc:chgData name="Pete Puustinen" userId="afdc5376-b007-4d8e-9c19-07b3fbb81413" providerId="ADAL" clId="{64B35C1D-236B-4231-AB11-8982948B1784}" dt="2022-10-25T08:48:59.666" v="1081" actId="404"/>
        <pc:sldMkLst>
          <pc:docMk/>
          <pc:sldMk cId="3047581608" sldId="293"/>
        </pc:sldMkLst>
        <pc:spChg chg="mod">
          <ac:chgData name="Pete Puustinen" userId="afdc5376-b007-4d8e-9c19-07b3fbb81413" providerId="ADAL" clId="{64B35C1D-236B-4231-AB11-8982948B1784}" dt="2022-10-25T08:48:59.666" v="1081" actId="404"/>
          <ac:spMkLst>
            <pc:docMk/>
            <pc:sldMk cId="3047581608" sldId="293"/>
            <ac:spMk id="4" creationId="{9B5E814D-BCDE-404A-A182-6AFC5E059337}"/>
          </ac:spMkLst>
        </pc:spChg>
      </pc:sldChg>
      <pc:sldChg chg="addSp modSp mod">
        <pc:chgData name="Pete Puustinen" userId="afdc5376-b007-4d8e-9c19-07b3fbb81413" providerId="ADAL" clId="{64B35C1D-236B-4231-AB11-8982948B1784}" dt="2022-10-25T11:49:14.669" v="1775" actId="14100"/>
        <pc:sldMkLst>
          <pc:docMk/>
          <pc:sldMk cId="1393845032" sldId="297"/>
        </pc:sldMkLst>
        <pc:spChg chg="mod">
          <ac:chgData name="Pete Puustinen" userId="afdc5376-b007-4d8e-9c19-07b3fbb81413" providerId="ADAL" clId="{64B35C1D-236B-4231-AB11-8982948B1784}" dt="2022-10-25T11:42:13.250" v="1772" actId="20577"/>
          <ac:spMkLst>
            <pc:docMk/>
            <pc:sldMk cId="1393845032" sldId="297"/>
            <ac:spMk id="2" creationId="{E0DCCC6D-05C4-4092-8C9D-AA0D46C1A281}"/>
          </ac:spMkLst>
        </pc:spChg>
        <pc:picChg chg="mod">
          <ac:chgData name="Pete Puustinen" userId="afdc5376-b007-4d8e-9c19-07b3fbb81413" providerId="ADAL" clId="{64B35C1D-236B-4231-AB11-8982948B1784}" dt="2022-10-25T11:49:08.449" v="1773" actId="1076"/>
          <ac:picMkLst>
            <pc:docMk/>
            <pc:sldMk cId="1393845032" sldId="297"/>
            <ac:picMk id="5" creationId="{0BA40369-4DD2-44C9-828A-027DDC1A9B61}"/>
          </ac:picMkLst>
        </pc:picChg>
        <pc:picChg chg="add mod">
          <ac:chgData name="Pete Puustinen" userId="afdc5376-b007-4d8e-9c19-07b3fbb81413" providerId="ADAL" clId="{64B35C1D-236B-4231-AB11-8982948B1784}" dt="2022-10-25T11:49:14.669" v="1775" actId="14100"/>
          <ac:picMkLst>
            <pc:docMk/>
            <pc:sldMk cId="1393845032" sldId="297"/>
            <ac:picMk id="7" creationId="{6D10122F-7A02-6922-C14C-6F5461458D2E}"/>
          </ac:picMkLst>
        </pc:picChg>
      </pc:sldChg>
      <pc:sldChg chg="modSp mod">
        <pc:chgData name="Pete Puustinen" userId="afdc5376-b007-4d8e-9c19-07b3fbb81413" providerId="ADAL" clId="{64B35C1D-236B-4231-AB11-8982948B1784}" dt="2022-10-25T08:48:11.579" v="1065" actId="404"/>
        <pc:sldMkLst>
          <pc:docMk/>
          <pc:sldMk cId="297645679" sldId="298"/>
        </pc:sldMkLst>
        <pc:spChg chg="mod">
          <ac:chgData name="Pete Puustinen" userId="afdc5376-b007-4d8e-9c19-07b3fbb81413" providerId="ADAL" clId="{64B35C1D-236B-4231-AB11-8982948B1784}" dt="2022-10-25T06:46:22.943" v="693" actId="27636"/>
          <ac:spMkLst>
            <pc:docMk/>
            <pc:sldMk cId="297645679" sldId="298"/>
            <ac:spMk id="2" creationId="{E0DCCC6D-05C4-4092-8C9D-AA0D46C1A281}"/>
          </ac:spMkLst>
        </pc:spChg>
        <pc:spChg chg="mod">
          <ac:chgData name="Pete Puustinen" userId="afdc5376-b007-4d8e-9c19-07b3fbb81413" providerId="ADAL" clId="{64B35C1D-236B-4231-AB11-8982948B1784}" dt="2022-10-25T08:48:11.579" v="1065" actId="404"/>
          <ac:spMkLst>
            <pc:docMk/>
            <pc:sldMk cId="297645679" sldId="298"/>
            <ac:spMk id="4" creationId="{9B5E814D-BCDE-404A-A182-6AFC5E059337}"/>
          </ac:spMkLst>
        </pc:spChg>
        <pc:picChg chg="mod">
          <ac:chgData name="Pete Puustinen" userId="afdc5376-b007-4d8e-9c19-07b3fbb81413" providerId="ADAL" clId="{64B35C1D-236B-4231-AB11-8982948B1784}" dt="2022-10-25T06:46:20.898" v="691" actId="14100"/>
          <ac:picMkLst>
            <pc:docMk/>
            <pc:sldMk cId="297645679" sldId="298"/>
            <ac:picMk id="6" creationId="{16C30956-68F7-4C56-BA86-9CE94DD5A2B9}"/>
          </ac:picMkLst>
        </pc:picChg>
      </pc:sldChg>
      <pc:sldChg chg="addSp delSp modSp mod ord">
        <pc:chgData name="Pete Puustinen" userId="afdc5376-b007-4d8e-9c19-07b3fbb81413" providerId="ADAL" clId="{64B35C1D-236B-4231-AB11-8982948B1784}" dt="2022-10-25T09:59:05.255" v="1710" actId="27636"/>
        <pc:sldMkLst>
          <pc:docMk/>
          <pc:sldMk cId="321065863" sldId="299"/>
        </pc:sldMkLst>
        <pc:spChg chg="mod">
          <ac:chgData name="Pete Puustinen" userId="afdc5376-b007-4d8e-9c19-07b3fbb81413" providerId="ADAL" clId="{64B35C1D-236B-4231-AB11-8982948B1784}" dt="2022-10-25T09:59:05.255" v="1710" actId="27636"/>
          <ac:spMkLst>
            <pc:docMk/>
            <pc:sldMk cId="321065863" sldId="299"/>
            <ac:spMk id="2" creationId="{E0DCCC6D-05C4-4092-8C9D-AA0D46C1A281}"/>
          </ac:spMkLst>
        </pc:spChg>
        <pc:spChg chg="mod">
          <ac:chgData name="Pete Puustinen" userId="afdc5376-b007-4d8e-9c19-07b3fbb81413" providerId="ADAL" clId="{64B35C1D-236B-4231-AB11-8982948B1784}" dt="2022-10-25T05:56:38.207" v="467" actId="20577"/>
          <ac:spMkLst>
            <pc:docMk/>
            <pc:sldMk cId="321065863" sldId="299"/>
            <ac:spMk id="3" creationId="{00000000-0000-0000-0000-000000000000}"/>
          </ac:spMkLst>
        </pc:spChg>
        <pc:spChg chg="mod">
          <ac:chgData name="Pete Puustinen" userId="afdc5376-b007-4d8e-9c19-07b3fbb81413" providerId="ADAL" clId="{64B35C1D-236B-4231-AB11-8982948B1784}" dt="2022-10-25T08:49:09.945" v="1083" actId="404"/>
          <ac:spMkLst>
            <pc:docMk/>
            <pc:sldMk cId="321065863" sldId="299"/>
            <ac:spMk id="4" creationId="{9B5E814D-BCDE-404A-A182-6AFC5E059337}"/>
          </ac:spMkLst>
        </pc:spChg>
        <pc:spChg chg="add mod">
          <ac:chgData name="Pete Puustinen" userId="afdc5376-b007-4d8e-9c19-07b3fbb81413" providerId="ADAL" clId="{64B35C1D-236B-4231-AB11-8982948B1784}" dt="2022-10-25T06:23:57.116" v="645" actId="115"/>
          <ac:spMkLst>
            <pc:docMk/>
            <pc:sldMk cId="321065863" sldId="299"/>
            <ac:spMk id="11" creationId="{5F6DD6EB-07E6-015D-CCA9-CBE82F14C703}"/>
          </ac:spMkLst>
        </pc:spChg>
        <pc:spChg chg="add del mod">
          <ac:chgData name="Pete Puustinen" userId="afdc5376-b007-4d8e-9c19-07b3fbb81413" providerId="ADAL" clId="{64B35C1D-236B-4231-AB11-8982948B1784}" dt="2022-10-25T08:45:51.020" v="989" actId="478"/>
          <ac:spMkLst>
            <pc:docMk/>
            <pc:sldMk cId="321065863" sldId="299"/>
            <ac:spMk id="16" creationId="{64E32DE6-6769-8784-5C27-E20A20D1C914}"/>
          </ac:spMkLst>
        </pc:spChg>
        <pc:picChg chg="del">
          <ac:chgData name="Pete Puustinen" userId="afdc5376-b007-4d8e-9c19-07b3fbb81413" providerId="ADAL" clId="{64B35C1D-236B-4231-AB11-8982948B1784}" dt="2022-10-25T05:47:57.132" v="456" actId="478"/>
          <ac:picMkLst>
            <pc:docMk/>
            <pc:sldMk cId="321065863" sldId="299"/>
            <ac:picMk id="5" creationId="{95CF6999-6A3C-4CF6-8321-C90E851EA474}"/>
          </ac:picMkLst>
        </pc:picChg>
        <pc:picChg chg="add mod">
          <ac:chgData name="Pete Puustinen" userId="afdc5376-b007-4d8e-9c19-07b3fbb81413" providerId="ADAL" clId="{64B35C1D-236B-4231-AB11-8982948B1784}" dt="2022-10-25T08:46:10.011" v="996" actId="1076"/>
          <ac:picMkLst>
            <pc:docMk/>
            <pc:sldMk cId="321065863" sldId="299"/>
            <ac:picMk id="7" creationId="{BC4419E5-E7AC-0E0E-22B6-14F2BCD05E87}"/>
          </ac:picMkLst>
        </pc:picChg>
        <pc:picChg chg="add del mod">
          <ac:chgData name="Pete Puustinen" userId="afdc5376-b007-4d8e-9c19-07b3fbb81413" providerId="ADAL" clId="{64B35C1D-236B-4231-AB11-8982948B1784}" dt="2022-10-25T08:44:58.011" v="982" actId="478"/>
          <ac:picMkLst>
            <pc:docMk/>
            <pc:sldMk cId="321065863" sldId="299"/>
            <ac:picMk id="13" creationId="{A48B8C1D-F86C-8330-ED30-89DC43A4249A}"/>
          </ac:picMkLst>
        </pc:picChg>
        <pc:picChg chg="add del">
          <ac:chgData name="Pete Puustinen" userId="afdc5376-b007-4d8e-9c19-07b3fbb81413" providerId="ADAL" clId="{64B35C1D-236B-4231-AB11-8982948B1784}" dt="2022-10-25T08:45:51.666" v="990" actId="478"/>
          <ac:picMkLst>
            <pc:docMk/>
            <pc:sldMk cId="321065863" sldId="299"/>
            <ac:picMk id="15" creationId="{317478E1-6371-AA79-EF0E-69E1426B1012}"/>
          </ac:picMkLst>
        </pc:picChg>
        <pc:picChg chg="add mod">
          <ac:chgData name="Pete Puustinen" userId="afdc5376-b007-4d8e-9c19-07b3fbb81413" providerId="ADAL" clId="{64B35C1D-236B-4231-AB11-8982948B1784}" dt="2022-10-25T09:58:59.075" v="1705" actId="14100"/>
          <ac:picMkLst>
            <pc:docMk/>
            <pc:sldMk cId="321065863" sldId="299"/>
            <ac:picMk id="18" creationId="{18DC00BF-1B68-C9DD-FD36-0ECF4E1B3DE6}"/>
          </ac:picMkLst>
        </pc:picChg>
      </pc:sldChg>
      <pc:sldChg chg="addSp delSp modSp del mod">
        <pc:chgData name="Pete Puustinen" userId="afdc5376-b007-4d8e-9c19-07b3fbb81413" providerId="ADAL" clId="{64B35C1D-236B-4231-AB11-8982948B1784}" dt="2022-10-25T09:59:12.658" v="1711" actId="47"/>
        <pc:sldMkLst>
          <pc:docMk/>
          <pc:sldMk cId="218990759" sldId="301"/>
        </pc:sldMkLst>
        <pc:spChg chg="mod">
          <ac:chgData name="Pete Puustinen" userId="afdc5376-b007-4d8e-9c19-07b3fbb81413" providerId="ADAL" clId="{64B35C1D-236B-4231-AB11-8982948B1784}" dt="2022-10-25T09:40:28.395" v="1370" actId="20577"/>
          <ac:spMkLst>
            <pc:docMk/>
            <pc:sldMk cId="218990759" sldId="301"/>
            <ac:spMk id="2" creationId="{E0DCCC6D-05C4-4092-8C9D-AA0D46C1A281}"/>
          </ac:spMkLst>
        </pc:spChg>
        <pc:spChg chg="mod">
          <ac:chgData name="Pete Puustinen" userId="afdc5376-b007-4d8e-9c19-07b3fbb81413" providerId="ADAL" clId="{64B35C1D-236B-4231-AB11-8982948B1784}" dt="2022-10-25T09:48:12.617" v="1401" actId="20577"/>
          <ac:spMkLst>
            <pc:docMk/>
            <pc:sldMk cId="218990759" sldId="301"/>
            <ac:spMk id="3" creationId="{00000000-0000-0000-0000-000000000000}"/>
          </ac:spMkLst>
        </pc:spChg>
        <pc:spChg chg="del">
          <ac:chgData name="Pete Puustinen" userId="afdc5376-b007-4d8e-9c19-07b3fbb81413" providerId="ADAL" clId="{64B35C1D-236B-4231-AB11-8982948B1784}" dt="2022-10-25T08:47:59.172" v="1063" actId="478"/>
          <ac:spMkLst>
            <pc:docMk/>
            <pc:sldMk cId="218990759" sldId="301"/>
            <ac:spMk id="4" creationId="{9B5E814D-BCDE-404A-A182-6AFC5E059337}"/>
          </ac:spMkLst>
        </pc:spChg>
        <pc:spChg chg="add mod">
          <ac:chgData name="Pete Puustinen" userId="afdc5376-b007-4d8e-9c19-07b3fbb81413" providerId="ADAL" clId="{64B35C1D-236B-4231-AB11-8982948B1784}" dt="2022-10-25T06:24:01.949" v="646" actId="115"/>
          <ac:spMkLst>
            <pc:docMk/>
            <pc:sldMk cId="218990759" sldId="301"/>
            <ac:spMk id="18" creationId="{B405691D-951F-F157-68EB-E9619009943F}"/>
          </ac:spMkLst>
        </pc:spChg>
        <pc:spChg chg="add del mod">
          <ac:chgData name="Pete Puustinen" userId="afdc5376-b007-4d8e-9c19-07b3fbb81413" providerId="ADAL" clId="{64B35C1D-236B-4231-AB11-8982948B1784}" dt="2022-10-25T05:42:57.857" v="442" actId="478"/>
          <ac:spMkLst>
            <pc:docMk/>
            <pc:sldMk cId="218990759" sldId="301"/>
            <ac:spMk id="21" creationId="{95398354-8A8C-AED0-4A21-EE5A96C4DB74}"/>
          </ac:spMkLst>
        </pc:spChg>
        <pc:spChg chg="add del mod">
          <ac:chgData name="Pete Puustinen" userId="afdc5376-b007-4d8e-9c19-07b3fbb81413" providerId="ADAL" clId="{64B35C1D-236B-4231-AB11-8982948B1784}" dt="2022-10-25T05:42:59.987" v="444" actId="478"/>
          <ac:spMkLst>
            <pc:docMk/>
            <pc:sldMk cId="218990759" sldId="301"/>
            <ac:spMk id="22" creationId="{6F8610FF-EA78-97C3-E4E3-E150C39A3552}"/>
          </ac:spMkLst>
        </pc:spChg>
        <pc:spChg chg="add mod">
          <ac:chgData name="Pete Puustinen" userId="afdc5376-b007-4d8e-9c19-07b3fbb81413" providerId="ADAL" clId="{64B35C1D-236B-4231-AB11-8982948B1784}" dt="2022-10-25T08:49:22.679" v="1085" actId="14100"/>
          <ac:spMkLst>
            <pc:docMk/>
            <pc:sldMk cId="218990759" sldId="301"/>
            <ac:spMk id="25" creationId="{D2DAF6C9-0978-2827-6185-BA18FE8C2168}"/>
          </ac:spMkLst>
        </pc:spChg>
        <pc:picChg chg="del mod">
          <ac:chgData name="Pete Puustinen" userId="afdc5376-b007-4d8e-9c19-07b3fbb81413" providerId="ADAL" clId="{64B35C1D-236B-4231-AB11-8982948B1784}" dt="2022-10-25T05:40:29.343" v="433" actId="478"/>
          <ac:picMkLst>
            <pc:docMk/>
            <pc:sldMk cId="218990759" sldId="301"/>
            <ac:picMk id="12" creationId="{58626DF2-4947-BBE7-C2BF-D4921343226B}"/>
          </ac:picMkLst>
        </pc:picChg>
        <pc:picChg chg="mod ord">
          <ac:chgData name="Pete Puustinen" userId="afdc5376-b007-4d8e-9c19-07b3fbb81413" providerId="ADAL" clId="{64B35C1D-236B-4231-AB11-8982948B1784}" dt="2022-10-25T09:41:41.866" v="1396" actId="166"/>
          <ac:picMkLst>
            <pc:docMk/>
            <pc:sldMk cId="218990759" sldId="301"/>
            <ac:picMk id="14" creationId="{7980E5E1-2231-18EF-1DE7-0E476349FBB5}"/>
          </ac:picMkLst>
        </pc:picChg>
        <pc:picChg chg="del mod">
          <ac:chgData name="Pete Puustinen" userId="afdc5376-b007-4d8e-9c19-07b3fbb81413" providerId="ADAL" clId="{64B35C1D-236B-4231-AB11-8982948B1784}" dt="2022-10-25T09:41:00.745" v="1379" actId="478"/>
          <ac:picMkLst>
            <pc:docMk/>
            <pc:sldMk cId="218990759" sldId="301"/>
            <ac:picMk id="16" creationId="{616FE3EC-899E-3ABA-F3C5-750618C29ADB}"/>
          </ac:picMkLst>
        </pc:picChg>
        <pc:picChg chg="add del">
          <ac:chgData name="Pete Puustinen" userId="afdc5376-b007-4d8e-9c19-07b3fbb81413" providerId="ADAL" clId="{64B35C1D-236B-4231-AB11-8982948B1784}" dt="2022-10-25T05:42:58.750" v="443" actId="478"/>
          <ac:picMkLst>
            <pc:docMk/>
            <pc:sldMk cId="218990759" sldId="301"/>
            <ac:picMk id="20" creationId="{1D1A4F81-FEAD-3D36-E6C9-94FEAF5478B9}"/>
          </ac:picMkLst>
        </pc:picChg>
        <pc:picChg chg="add mod">
          <ac:chgData name="Pete Puustinen" userId="afdc5376-b007-4d8e-9c19-07b3fbb81413" providerId="ADAL" clId="{64B35C1D-236B-4231-AB11-8982948B1784}" dt="2022-10-25T05:43:19.664" v="452" actId="1076"/>
          <ac:picMkLst>
            <pc:docMk/>
            <pc:sldMk cId="218990759" sldId="301"/>
            <ac:picMk id="24" creationId="{A03689C2-C6C3-CBFE-1A9E-1616B6760CAA}"/>
          </ac:picMkLst>
        </pc:picChg>
        <pc:picChg chg="add del mod">
          <ac:chgData name="Pete Puustinen" userId="afdc5376-b007-4d8e-9c19-07b3fbb81413" providerId="ADAL" clId="{64B35C1D-236B-4231-AB11-8982948B1784}" dt="2022-10-25T09:34:47.982" v="1285" actId="478"/>
          <ac:picMkLst>
            <pc:docMk/>
            <pc:sldMk cId="218990759" sldId="301"/>
            <ac:picMk id="27" creationId="{37C5BCE0-BF9F-6F31-6C33-FF3FADD2364D}"/>
          </ac:picMkLst>
        </pc:picChg>
        <pc:picChg chg="add mod">
          <ac:chgData name="Pete Puustinen" userId="afdc5376-b007-4d8e-9c19-07b3fbb81413" providerId="ADAL" clId="{64B35C1D-236B-4231-AB11-8982948B1784}" dt="2022-10-25T09:41:32.340" v="1394" actId="1076"/>
          <ac:picMkLst>
            <pc:docMk/>
            <pc:sldMk cId="218990759" sldId="301"/>
            <ac:picMk id="29" creationId="{54BB9F28-3993-C0C0-ED1D-47D4140B03D1}"/>
          </ac:picMkLst>
        </pc:picChg>
        <pc:picChg chg="add mod">
          <ac:chgData name="Pete Puustinen" userId="afdc5376-b007-4d8e-9c19-07b3fbb81413" providerId="ADAL" clId="{64B35C1D-236B-4231-AB11-8982948B1784}" dt="2022-10-25T09:41:24.045" v="1390" actId="1076"/>
          <ac:picMkLst>
            <pc:docMk/>
            <pc:sldMk cId="218990759" sldId="301"/>
            <ac:picMk id="31" creationId="{3BA13784-6B38-93DE-956C-23D75EC42F29}"/>
          </ac:picMkLst>
        </pc:picChg>
      </pc:sldChg>
      <pc:sldChg chg="modSp mod">
        <pc:chgData name="Pete Puustinen" userId="afdc5376-b007-4d8e-9c19-07b3fbb81413" providerId="ADAL" clId="{64B35C1D-236B-4231-AB11-8982948B1784}" dt="2022-10-25T08:48:55.340" v="1080" actId="404"/>
        <pc:sldMkLst>
          <pc:docMk/>
          <pc:sldMk cId="3553586215" sldId="2076137911"/>
        </pc:sldMkLst>
        <pc:spChg chg="mod">
          <ac:chgData name="Pete Puustinen" userId="afdc5376-b007-4d8e-9c19-07b3fbb81413" providerId="ADAL" clId="{64B35C1D-236B-4231-AB11-8982948B1784}" dt="2022-10-25T08:48:55.340" v="1080" actId="404"/>
          <ac:spMkLst>
            <pc:docMk/>
            <pc:sldMk cId="3553586215" sldId="2076137911"/>
            <ac:spMk id="4" creationId="{9B5E814D-BCDE-404A-A182-6AFC5E059337}"/>
          </ac:spMkLst>
        </pc:spChg>
      </pc:sldChg>
      <pc:sldChg chg="del">
        <pc:chgData name="Pete Puustinen" userId="afdc5376-b007-4d8e-9c19-07b3fbb81413" providerId="ADAL" clId="{64B35C1D-236B-4231-AB11-8982948B1784}" dt="2022-10-25T12:08:21.557" v="1776" actId="47"/>
        <pc:sldMkLst>
          <pc:docMk/>
          <pc:sldMk cId="2192452519" sldId="2123258577"/>
        </pc:sldMkLst>
      </pc:sldChg>
      <pc:sldChg chg="addSp delSp modSp add mod">
        <pc:chgData name="Pete Puustinen" userId="afdc5376-b007-4d8e-9c19-07b3fbb81413" providerId="ADAL" clId="{64B35C1D-236B-4231-AB11-8982948B1784}" dt="2022-10-25T09:58:22.737" v="1704" actId="1076"/>
        <pc:sldMkLst>
          <pc:docMk/>
          <pc:sldMk cId="2889522625" sldId="2123258579"/>
        </pc:sldMkLst>
        <pc:spChg chg="mod">
          <ac:chgData name="Pete Puustinen" userId="afdc5376-b007-4d8e-9c19-07b3fbb81413" providerId="ADAL" clId="{64B35C1D-236B-4231-AB11-8982948B1784}" dt="2022-10-25T09:58:06.180" v="1701" actId="6549"/>
          <ac:spMkLst>
            <pc:docMk/>
            <pc:sldMk cId="2889522625" sldId="2123258579"/>
            <ac:spMk id="2" creationId="{E0DCCC6D-05C4-4092-8C9D-AA0D46C1A281}"/>
          </ac:spMkLst>
        </pc:spChg>
        <pc:spChg chg="mod">
          <ac:chgData name="Pete Puustinen" userId="afdc5376-b007-4d8e-9c19-07b3fbb81413" providerId="ADAL" clId="{64B35C1D-236B-4231-AB11-8982948B1784}" dt="2022-10-25T09:56:48.175" v="1632" actId="20577"/>
          <ac:spMkLst>
            <pc:docMk/>
            <pc:sldMk cId="2889522625" sldId="2123258579"/>
            <ac:spMk id="3" creationId="{00000000-0000-0000-0000-000000000000}"/>
          </ac:spMkLst>
        </pc:spChg>
        <pc:spChg chg="mod">
          <ac:chgData name="Pete Puustinen" userId="afdc5376-b007-4d8e-9c19-07b3fbb81413" providerId="ADAL" clId="{64B35C1D-236B-4231-AB11-8982948B1784}" dt="2022-10-25T09:57:02.322" v="1638" actId="20577"/>
          <ac:spMkLst>
            <pc:docMk/>
            <pc:sldMk cId="2889522625" sldId="2123258579"/>
            <ac:spMk id="4" creationId="{9B5E814D-BCDE-404A-A182-6AFC5E059337}"/>
          </ac:spMkLst>
        </pc:spChg>
        <pc:picChg chg="add mod">
          <ac:chgData name="Pete Puustinen" userId="afdc5376-b007-4d8e-9c19-07b3fbb81413" providerId="ADAL" clId="{64B35C1D-236B-4231-AB11-8982948B1784}" dt="2022-10-25T09:58:22.737" v="1704" actId="1076"/>
          <ac:picMkLst>
            <pc:docMk/>
            <pc:sldMk cId="2889522625" sldId="2123258579"/>
            <ac:picMk id="5" creationId="{980473C8-4ECA-325A-E533-A9590F1694DC}"/>
          </ac:picMkLst>
        </pc:picChg>
        <pc:picChg chg="del">
          <ac:chgData name="Pete Puustinen" userId="afdc5376-b007-4d8e-9c19-07b3fbb81413" providerId="ADAL" clId="{64B35C1D-236B-4231-AB11-8982948B1784}" dt="2022-10-25T09:49:46.338" v="1418" actId="478"/>
          <ac:picMkLst>
            <pc:docMk/>
            <pc:sldMk cId="2889522625" sldId="2123258579"/>
            <ac:picMk id="7" creationId="{BC4419E5-E7AC-0E0E-22B6-14F2BCD05E87}"/>
          </ac:picMkLst>
        </pc:picChg>
        <pc:picChg chg="mod">
          <ac:chgData name="Pete Puustinen" userId="afdc5376-b007-4d8e-9c19-07b3fbb81413" providerId="ADAL" clId="{64B35C1D-236B-4231-AB11-8982948B1784}" dt="2022-10-25T09:56:53.705" v="1637" actId="1076"/>
          <ac:picMkLst>
            <pc:docMk/>
            <pc:sldMk cId="2889522625" sldId="2123258579"/>
            <ac:picMk id="18" creationId="{18DC00BF-1B68-C9DD-FD36-0ECF4E1B3DE6}"/>
          </ac:picMkLst>
        </pc:picChg>
      </pc:sldChg>
    </pc:docChg>
  </pc:docChgLst>
  <pc:docChgLst>
    <pc:chgData name="Pete Puustinen" userId="afdc5376-b007-4d8e-9c19-07b3fbb81413" providerId="ADAL" clId="{AC23D38F-C308-4E08-A28B-04E01ABF4F31}"/>
    <pc:docChg chg="modSld">
      <pc:chgData name="Pete Puustinen" userId="afdc5376-b007-4d8e-9c19-07b3fbb81413" providerId="ADAL" clId="{AC23D38F-C308-4E08-A28B-04E01ABF4F31}" dt="2023-06-02T09:05:22.734" v="0" actId="6549"/>
      <pc:docMkLst>
        <pc:docMk/>
      </pc:docMkLst>
      <pc:sldChg chg="modSp mod">
        <pc:chgData name="Pete Puustinen" userId="afdc5376-b007-4d8e-9c19-07b3fbb81413" providerId="ADAL" clId="{AC23D38F-C308-4E08-A28B-04E01ABF4F31}" dt="2023-06-02T09:05:22.734" v="0" actId="6549"/>
        <pc:sldMkLst>
          <pc:docMk/>
          <pc:sldMk cId="2758667512" sldId="311"/>
        </pc:sldMkLst>
        <pc:spChg chg="mod">
          <ac:chgData name="Pete Puustinen" userId="afdc5376-b007-4d8e-9c19-07b3fbb81413" providerId="ADAL" clId="{AC23D38F-C308-4E08-A28B-04E01ABF4F31}" dt="2023-06-02T09:05:22.734" v="0" actId="6549"/>
          <ac:spMkLst>
            <pc:docMk/>
            <pc:sldMk cId="2758667512" sldId="311"/>
            <ac:spMk id="2" creationId="{E0DCCC6D-05C4-4092-8C9D-AA0D46C1A281}"/>
          </ac:spMkLst>
        </pc:spChg>
      </pc:sldChg>
    </pc:docChg>
  </pc:docChgLst>
  <pc:docChgLst>
    <pc:chgData name="Pete Puustinen" userId="afdc5376-b007-4d8e-9c19-07b3fbb81413" providerId="ADAL" clId="{A4F2F060-4BB7-4A9F-9BD8-3419FC877D55}"/>
    <pc:docChg chg="undo custSel modSld sldOrd">
      <pc:chgData name="Pete Puustinen" userId="afdc5376-b007-4d8e-9c19-07b3fbb81413" providerId="ADAL" clId="{A4F2F060-4BB7-4A9F-9BD8-3419FC877D55}" dt="2023-01-26T17:12:08.102" v="779" actId="6549"/>
      <pc:docMkLst>
        <pc:docMk/>
      </pc:docMkLst>
      <pc:sldChg chg="modSp">
        <pc:chgData name="Pete Puustinen" userId="afdc5376-b007-4d8e-9c19-07b3fbb81413" providerId="ADAL" clId="{A4F2F060-4BB7-4A9F-9BD8-3419FC877D55}" dt="2023-01-26T17:12:08.102" v="779" actId="6549"/>
        <pc:sldMkLst>
          <pc:docMk/>
          <pc:sldMk cId="1580726745" sldId="288"/>
        </pc:sldMkLst>
        <pc:spChg chg="mod">
          <ac:chgData name="Pete Puustinen" userId="afdc5376-b007-4d8e-9c19-07b3fbb81413" providerId="ADAL" clId="{A4F2F060-4BB7-4A9F-9BD8-3419FC877D55}" dt="2023-01-26T17:12:08.102" v="779" actId="6549"/>
          <ac:spMkLst>
            <pc:docMk/>
            <pc:sldMk cId="1580726745" sldId="288"/>
            <ac:spMk id="2" creationId="{E0DCCC6D-05C4-4092-8C9D-AA0D46C1A281}"/>
          </ac:spMkLst>
        </pc:spChg>
      </pc:sldChg>
      <pc:sldChg chg="ord">
        <pc:chgData name="Pete Puustinen" userId="afdc5376-b007-4d8e-9c19-07b3fbb81413" providerId="ADAL" clId="{A4F2F060-4BB7-4A9F-9BD8-3419FC877D55}" dt="2023-01-26T08:10:54.221" v="1"/>
        <pc:sldMkLst>
          <pc:docMk/>
          <pc:sldMk cId="1707684876" sldId="294"/>
        </pc:sldMkLst>
      </pc:sldChg>
      <pc:sldChg chg="modSp mod">
        <pc:chgData name="Pete Puustinen" userId="afdc5376-b007-4d8e-9c19-07b3fbb81413" providerId="ADAL" clId="{A4F2F060-4BB7-4A9F-9BD8-3419FC877D55}" dt="2023-01-26T12:14:13.052" v="769" actId="403"/>
        <pc:sldMkLst>
          <pc:docMk/>
          <pc:sldMk cId="2667324473" sldId="316"/>
        </pc:sldMkLst>
        <pc:spChg chg="mod">
          <ac:chgData name="Pete Puustinen" userId="afdc5376-b007-4d8e-9c19-07b3fbb81413" providerId="ADAL" clId="{A4F2F060-4BB7-4A9F-9BD8-3419FC877D55}" dt="2023-01-26T12:14:13.052" v="769" actId="403"/>
          <ac:spMkLst>
            <pc:docMk/>
            <pc:sldMk cId="2667324473" sldId="316"/>
            <ac:spMk id="2" creationId="{E0DCCC6D-05C4-4092-8C9D-AA0D46C1A281}"/>
          </ac:spMkLst>
        </pc:spChg>
      </pc:sldChg>
      <pc:sldChg chg="addSp delSp modSp mod">
        <pc:chgData name="Pete Puustinen" userId="afdc5376-b007-4d8e-9c19-07b3fbb81413" providerId="ADAL" clId="{A4F2F060-4BB7-4A9F-9BD8-3419FC877D55}" dt="2023-01-26T12:01:51.787" v="768" actId="14100"/>
        <pc:sldMkLst>
          <pc:docMk/>
          <pc:sldMk cId="4139698663" sldId="320"/>
        </pc:sldMkLst>
        <pc:spChg chg="mod">
          <ac:chgData name="Pete Puustinen" userId="afdc5376-b007-4d8e-9c19-07b3fbb81413" providerId="ADAL" clId="{A4F2F060-4BB7-4A9F-9BD8-3419FC877D55}" dt="2023-01-26T12:01:10.246" v="760" actId="115"/>
          <ac:spMkLst>
            <pc:docMk/>
            <pc:sldMk cId="4139698663" sldId="320"/>
            <ac:spMk id="2" creationId="{094F5952-7A83-47EB-AF0E-51571CA35DE1}"/>
          </ac:spMkLst>
        </pc:spChg>
        <pc:picChg chg="mod">
          <ac:chgData name="Pete Puustinen" userId="afdc5376-b007-4d8e-9c19-07b3fbb81413" providerId="ADAL" clId="{A4F2F060-4BB7-4A9F-9BD8-3419FC877D55}" dt="2023-01-26T12:01:21.929" v="761" actId="14100"/>
          <ac:picMkLst>
            <pc:docMk/>
            <pc:sldMk cId="4139698663" sldId="320"/>
            <ac:picMk id="5" creationId="{EFA21600-39BB-4B0F-B30C-665A8271000F}"/>
          </ac:picMkLst>
        </pc:picChg>
        <pc:picChg chg="mod">
          <ac:chgData name="Pete Puustinen" userId="afdc5376-b007-4d8e-9c19-07b3fbb81413" providerId="ADAL" clId="{A4F2F060-4BB7-4A9F-9BD8-3419FC877D55}" dt="2023-01-26T12:01:28.306" v="762" actId="1076"/>
          <ac:picMkLst>
            <pc:docMk/>
            <pc:sldMk cId="4139698663" sldId="320"/>
            <ac:picMk id="6" creationId="{676DA7B8-2FC2-BB55-FA50-42FF709B9E72}"/>
          </ac:picMkLst>
        </pc:picChg>
        <pc:picChg chg="add del mod ord">
          <ac:chgData name="Pete Puustinen" userId="afdc5376-b007-4d8e-9c19-07b3fbb81413" providerId="ADAL" clId="{A4F2F060-4BB7-4A9F-9BD8-3419FC877D55}" dt="2023-01-26T11:56:34.609" v="418" actId="478"/>
          <ac:picMkLst>
            <pc:docMk/>
            <pc:sldMk cId="4139698663" sldId="320"/>
            <ac:picMk id="11" creationId="{2DE66D11-DC13-B20A-0DB3-D61D7519F5EC}"/>
          </ac:picMkLst>
        </pc:picChg>
        <pc:picChg chg="add mod">
          <ac:chgData name="Pete Puustinen" userId="afdc5376-b007-4d8e-9c19-07b3fbb81413" providerId="ADAL" clId="{A4F2F060-4BB7-4A9F-9BD8-3419FC877D55}" dt="2023-01-26T12:01:30.107" v="763" actId="1076"/>
          <ac:picMkLst>
            <pc:docMk/>
            <pc:sldMk cId="4139698663" sldId="320"/>
            <ac:picMk id="22" creationId="{40AA6776-FA87-6731-486B-5C4A4DD89396}"/>
          </ac:picMkLst>
        </pc:picChg>
        <pc:cxnChg chg="add del mod">
          <ac:chgData name="Pete Puustinen" userId="afdc5376-b007-4d8e-9c19-07b3fbb81413" providerId="ADAL" clId="{A4F2F060-4BB7-4A9F-9BD8-3419FC877D55}" dt="2023-01-26T12:01:47.622" v="767" actId="14100"/>
          <ac:cxnSpMkLst>
            <pc:docMk/>
            <pc:sldMk cId="4139698663" sldId="320"/>
            <ac:cxnSpMk id="8" creationId="{7ED9FAD1-8350-8558-57EE-ACD1256736A3}"/>
          </ac:cxnSpMkLst>
        </pc:cxnChg>
        <pc:cxnChg chg="add mod">
          <ac:chgData name="Pete Puustinen" userId="afdc5376-b007-4d8e-9c19-07b3fbb81413" providerId="ADAL" clId="{A4F2F060-4BB7-4A9F-9BD8-3419FC877D55}" dt="2023-01-26T12:01:51.787" v="768" actId="14100"/>
          <ac:cxnSpMkLst>
            <pc:docMk/>
            <pc:sldMk cId="4139698663" sldId="320"/>
            <ac:cxnSpMk id="16" creationId="{FDE7E01B-A914-E219-5438-988AFA56C797}"/>
          </ac:cxnSpMkLst>
        </pc:cxnChg>
      </pc:sldChg>
      <pc:sldChg chg="ord">
        <pc:chgData name="Pete Puustinen" userId="afdc5376-b007-4d8e-9c19-07b3fbb81413" providerId="ADAL" clId="{A4F2F060-4BB7-4A9F-9BD8-3419FC877D55}" dt="2023-01-26T08:13:02.141" v="3"/>
        <pc:sldMkLst>
          <pc:docMk/>
          <pc:sldMk cId="3553586215" sldId="2076137911"/>
        </pc:sldMkLst>
      </pc:sldChg>
      <pc:sldChg chg="modSp mod">
        <pc:chgData name="Pete Puustinen" userId="afdc5376-b007-4d8e-9c19-07b3fbb81413" providerId="ADAL" clId="{A4F2F060-4BB7-4A9F-9BD8-3419FC877D55}" dt="2023-01-26T11:12:55.687" v="7" actId="403"/>
        <pc:sldMkLst>
          <pc:docMk/>
          <pc:sldMk cId="91185291" sldId="2123258575"/>
        </pc:sldMkLst>
        <pc:spChg chg="mod">
          <ac:chgData name="Pete Puustinen" userId="afdc5376-b007-4d8e-9c19-07b3fbb81413" providerId="ADAL" clId="{A4F2F060-4BB7-4A9F-9BD8-3419FC877D55}" dt="2023-01-26T11:12:55.687" v="7" actId="403"/>
          <ac:spMkLst>
            <pc:docMk/>
            <pc:sldMk cId="91185291" sldId="2123258575"/>
            <ac:spMk id="2" creationId="{E0DCCC6D-05C4-4092-8C9D-AA0D46C1A281}"/>
          </ac:spMkLst>
        </pc:spChg>
      </pc:sldChg>
      <pc:sldChg chg="modSp mod">
        <pc:chgData name="Pete Puustinen" userId="afdc5376-b007-4d8e-9c19-07b3fbb81413" providerId="ADAL" clId="{A4F2F060-4BB7-4A9F-9BD8-3419FC877D55}" dt="2023-01-26T12:14:21.588" v="770" actId="403"/>
        <pc:sldMkLst>
          <pc:docMk/>
          <pc:sldMk cId="1484778796" sldId="2123258576"/>
        </pc:sldMkLst>
        <pc:spChg chg="mod">
          <ac:chgData name="Pete Puustinen" userId="afdc5376-b007-4d8e-9c19-07b3fbb81413" providerId="ADAL" clId="{A4F2F060-4BB7-4A9F-9BD8-3419FC877D55}" dt="2023-01-26T12:14:21.588" v="770" actId="403"/>
          <ac:spMkLst>
            <pc:docMk/>
            <pc:sldMk cId="1484778796" sldId="2123258576"/>
            <ac:spMk id="2" creationId="{E0DCCC6D-05C4-4092-8C9D-AA0D46C1A281}"/>
          </ac:spMkLst>
        </pc:spChg>
      </pc:sldChg>
    </pc:docChg>
  </pc:docChgLst>
  <pc:docChgLst>
    <pc:chgData name="Pete Puustinen" userId="afdc5376-b007-4d8e-9c19-07b3fbb81413" providerId="ADAL" clId="{483B7C13-EA44-4E3F-83DE-F82BB038B5E3}"/>
    <pc:docChg chg="modSld">
      <pc:chgData name="Pete Puustinen" userId="afdc5376-b007-4d8e-9c19-07b3fbb81413" providerId="ADAL" clId="{483B7C13-EA44-4E3F-83DE-F82BB038B5E3}" dt="2024-04-25T14:13:25.364" v="22" actId="6549"/>
      <pc:docMkLst>
        <pc:docMk/>
      </pc:docMkLst>
      <pc:sldChg chg="modSp">
        <pc:chgData name="Pete Puustinen" userId="afdc5376-b007-4d8e-9c19-07b3fbb81413" providerId="ADAL" clId="{483B7C13-EA44-4E3F-83DE-F82BB038B5E3}" dt="2024-04-25T14:13:25.364" v="22" actId="6549"/>
        <pc:sldMkLst>
          <pc:docMk/>
          <pc:sldMk cId="1580726745" sldId="288"/>
        </pc:sldMkLst>
        <pc:spChg chg="mod">
          <ac:chgData name="Pete Puustinen" userId="afdc5376-b007-4d8e-9c19-07b3fbb81413" providerId="ADAL" clId="{483B7C13-EA44-4E3F-83DE-F82BB038B5E3}" dt="2024-04-25T14:13:25.364" v="22" actId="6549"/>
          <ac:spMkLst>
            <pc:docMk/>
            <pc:sldMk cId="1580726745" sldId="288"/>
            <ac:spMk id="2" creationId="{E0DCCC6D-05C4-4092-8C9D-AA0D46C1A281}"/>
          </ac:spMkLst>
        </pc:spChg>
      </pc:sldChg>
    </pc:docChg>
  </pc:docChgLst>
  <pc:docChgLst>
    <pc:chgData name="Moris Montejo" userId="55e843e1-b95f-4cc0-a457-c4d5fafa72c5" providerId="ADAL" clId="{76F402D8-4071-45EB-BC1D-F7B5AFC85CE1}"/>
    <pc:docChg chg="custSel modSld">
      <pc:chgData name="Moris Montejo" userId="55e843e1-b95f-4cc0-a457-c4d5fafa72c5" providerId="ADAL" clId="{76F402D8-4071-45EB-BC1D-F7B5AFC85CE1}" dt="2023-05-05T04:51:12.382" v="120" actId="207"/>
      <pc:docMkLst>
        <pc:docMk/>
      </pc:docMkLst>
      <pc:sldChg chg="addSp delSp modSp mod">
        <pc:chgData name="Moris Montejo" userId="55e843e1-b95f-4cc0-a457-c4d5fafa72c5" providerId="ADAL" clId="{76F402D8-4071-45EB-BC1D-F7B5AFC85CE1}" dt="2023-05-04T16:34:49.633" v="58"/>
        <pc:sldMkLst>
          <pc:docMk/>
          <pc:sldMk cId="914707366" sldId="261"/>
        </pc:sldMkLst>
        <pc:spChg chg="mod">
          <ac:chgData name="Moris Montejo" userId="55e843e1-b95f-4cc0-a457-c4d5fafa72c5" providerId="ADAL" clId="{76F402D8-4071-45EB-BC1D-F7B5AFC85CE1}" dt="2023-05-04T16:31:34.802" v="8" actId="207"/>
          <ac:spMkLst>
            <pc:docMk/>
            <pc:sldMk cId="914707366" sldId="261"/>
            <ac:spMk id="2" creationId="{00000000-0000-0000-0000-000000000000}"/>
          </ac:spMkLst>
        </pc:spChg>
        <pc:spChg chg="add mod">
          <ac:chgData name="Moris Montejo" userId="55e843e1-b95f-4cc0-a457-c4d5fafa72c5" providerId="ADAL" clId="{76F402D8-4071-45EB-BC1D-F7B5AFC85CE1}" dt="2023-05-04T16:34:49.633" v="58"/>
          <ac:spMkLst>
            <pc:docMk/>
            <pc:sldMk cId="914707366" sldId="261"/>
            <ac:spMk id="3" creationId="{237C44C5-F440-4391-4DE6-686FBF291D1A}"/>
          </ac:spMkLst>
        </pc:spChg>
        <pc:spChg chg="del">
          <ac:chgData name="Moris Montejo" userId="55e843e1-b95f-4cc0-a457-c4d5fafa72c5" providerId="ADAL" clId="{76F402D8-4071-45EB-BC1D-F7B5AFC85CE1}" dt="2023-05-04T16:31:37.518" v="9" actId="478"/>
          <ac:spMkLst>
            <pc:docMk/>
            <pc:sldMk cId="914707366" sldId="261"/>
            <ac:spMk id="5" creationId="{842C103D-5BBB-45B2-BEEE-2BF0C0863D8E}"/>
          </ac:spMkLst>
        </pc:spChg>
      </pc:sldChg>
      <pc:sldChg chg="addSp modSp mod">
        <pc:chgData name="Moris Montejo" userId="55e843e1-b95f-4cc0-a457-c4d5fafa72c5" providerId="ADAL" clId="{76F402D8-4071-45EB-BC1D-F7B5AFC85CE1}" dt="2023-05-04T16:34:51.154" v="59"/>
        <pc:sldMkLst>
          <pc:docMk/>
          <pc:sldMk cId="1385431110" sldId="263"/>
        </pc:sldMkLst>
        <pc:spChg chg="mod">
          <ac:chgData name="Moris Montejo" userId="55e843e1-b95f-4cc0-a457-c4d5fafa72c5" providerId="ADAL" clId="{76F402D8-4071-45EB-BC1D-F7B5AFC85CE1}" dt="2023-05-04T16:31:41.478" v="10" actId="207"/>
          <ac:spMkLst>
            <pc:docMk/>
            <pc:sldMk cId="1385431110" sldId="263"/>
            <ac:spMk id="3" creationId="{00000000-0000-0000-0000-000000000000}"/>
          </ac:spMkLst>
        </pc:spChg>
        <pc:spChg chg="add mod">
          <ac:chgData name="Moris Montejo" userId="55e843e1-b95f-4cc0-a457-c4d5fafa72c5" providerId="ADAL" clId="{76F402D8-4071-45EB-BC1D-F7B5AFC85CE1}" dt="2023-05-04T16:34:51.154" v="59"/>
          <ac:spMkLst>
            <pc:docMk/>
            <pc:sldMk cId="1385431110" sldId="263"/>
            <ac:spMk id="5" creationId="{C2307F40-A292-6B35-BC43-A4B2D373D62B}"/>
          </ac:spMkLst>
        </pc:spChg>
      </pc:sldChg>
      <pc:sldChg chg="modSp mod">
        <pc:chgData name="Moris Montejo" userId="55e843e1-b95f-4cc0-a457-c4d5fafa72c5" providerId="ADAL" clId="{76F402D8-4071-45EB-BC1D-F7B5AFC85CE1}" dt="2023-05-05T04:51:08.689" v="119" actId="207"/>
        <pc:sldMkLst>
          <pc:docMk/>
          <pc:sldMk cId="3977638465" sldId="266"/>
        </pc:sldMkLst>
        <pc:spChg chg="mod">
          <ac:chgData name="Moris Montejo" userId="55e843e1-b95f-4cc0-a457-c4d5fafa72c5" providerId="ADAL" clId="{76F402D8-4071-45EB-BC1D-F7B5AFC85CE1}" dt="2023-05-05T04:51:08.689" v="119" actId="207"/>
          <ac:spMkLst>
            <pc:docMk/>
            <pc:sldMk cId="3977638465" sldId="266"/>
            <ac:spMk id="2" creationId="{BC57B38C-8413-4861-A4F5-7DF656AEAD0D}"/>
          </ac:spMkLst>
        </pc:spChg>
      </pc:sldChg>
      <pc:sldChg chg="addSp modSp mod">
        <pc:chgData name="Moris Montejo" userId="55e843e1-b95f-4cc0-a457-c4d5fafa72c5" providerId="ADAL" clId="{76F402D8-4071-45EB-BC1D-F7B5AFC85CE1}" dt="2023-05-04T16:34:41.221" v="52"/>
        <pc:sldMkLst>
          <pc:docMk/>
          <pc:sldMk cId="2523176245" sldId="271"/>
        </pc:sldMkLst>
        <pc:spChg chg="mod">
          <ac:chgData name="Moris Montejo" userId="55e843e1-b95f-4cc0-a457-c4d5fafa72c5" providerId="ADAL" clId="{76F402D8-4071-45EB-BC1D-F7B5AFC85CE1}" dt="2023-05-04T16:31:05.216" v="1" actId="207"/>
          <ac:spMkLst>
            <pc:docMk/>
            <pc:sldMk cId="2523176245" sldId="271"/>
            <ac:spMk id="2" creationId="{00000000-0000-0000-0000-000000000000}"/>
          </ac:spMkLst>
        </pc:spChg>
        <pc:spChg chg="add mod">
          <ac:chgData name="Moris Montejo" userId="55e843e1-b95f-4cc0-a457-c4d5fafa72c5" providerId="ADAL" clId="{76F402D8-4071-45EB-BC1D-F7B5AFC85CE1}" dt="2023-05-04T16:34:41.221" v="52"/>
          <ac:spMkLst>
            <pc:docMk/>
            <pc:sldMk cId="2523176245" sldId="271"/>
            <ac:spMk id="3" creationId="{B77E2C8E-B846-CE8F-5283-C33A72B2EFE3}"/>
          </ac:spMkLst>
        </pc:spChg>
      </pc:sldChg>
      <pc:sldChg chg="addSp modSp mod">
        <pc:chgData name="Moris Montejo" userId="55e843e1-b95f-4cc0-a457-c4d5fafa72c5" providerId="ADAL" clId="{76F402D8-4071-45EB-BC1D-F7B5AFC85CE1}" dt="2023-05-04T16:34:42.946" v="53"/>
        <pc:sldMkLst>
          <pc:docMk/>
          <pc:sldMk cId="3972430632" sldId="272"/>
        </pc:sldMkLst>
        <pc:spChg chg="mod">
          <ac:chgData name="Moris Montejo" userId="55e843e1-b95f-4cc0-a457-c4d5fafa72c5" providerId="ADAL" clId="{76F402D8-4071-45EB-BC1D-F7B5AFC85CE1}" dt="2023-05-04T16:31:09.279" v="2" actId="207"/>
          <ac:spMkLst>
            <pc:docMk/>
            <pc:sldMk cId="3972430632" sldId="272"/>
            <ac:spMk id="2" creationId="{00000000-0000-0000-0000-000000000000}"/>
          </ac:spMkLst>
        </pc:spChg>
        <pc:spChg chg="add mod">
          <ac:chgData name="Moris Montejo" userId="55e843e1-b95f-4cc0-a457-c4d5fafa72c5" providerId="ADAL" clId="{76F402D8-4071-45EB-BC1D-F7B5AFC85CE1}" dt="2023-05-04T16:34:42.946" v="53"/>
          <ac:spMkLst>
            <pc:docMk/>
            <pc:sldMk cId="3972430632" sldId="272"/>
            <ac:spMk id="3" creationId="{AEA3EB36-448F-0E85-3AB8-C32A3594A28B}"/>
          </ac:spMkLst>
        </pc:spChg>
      </pc:sldChg>
      <pc:sldChg chg="addSp modSp mod">
        <pc:chgData name="Moris Montejo" userId="55e843e1-b95f-4cc0-a457-c4d5fafa72c5" providerId="ADAL" clId="{76F402D8-4071-45EB-BC1D-F7B5AFC85CE1}" dt="2023-05-04T16:34:39.350" v="51"/>
        <pc:sldMkLst>
          <pc:docMk/>
          <pc:sldMk cId="3546084662" sldId="273"/>
        </pc:sldMkLst>
        <pc:spChg chg="mod">
          <ac:chgData name="Moris Montejo" userId="55e843e1-b95f-4cc0-a457-c4d5fafa72c5" providerId="ADAL" clId="{76F402D8-4071-45EB-BC1D-F7B5AFC85CE1}" dt="2023-05-04T16:30:59.997" v="0" actId="207"/>
          <ac:spMkLst>
            <pc:docMk/>
            <pc:sldMk cId="3546084662" sldId="273"/>
            <ac:spMk id="2" creationId="{00000000-0000-0000-0000-000000000000}"/>
          </ac:spMkLst>
        </pc:spChg>
        <pc:spChg chg="add mod">
          <ac:chgData name="Moris Montejo" userId="55e843e1-b95f-4cc0-a457-c4d5fafa72c5" providerId="ADAL" clId="{76F402D8-4071-45EB-BC1D-F7B5AFC85CE1}" dt="2023-05-04T16:34:39.350" v="51"/>
          <ac:spMkLst>
            <pc:docMk/>
            <pc:sldMk cId="3546084662" sldId="273"/>
            <ac:spMk id="3" creationId="{00149F67-3CF8-A3C0-1436-4E1E12BDB30D}"/>
          </ac:spMkLst>
        </pc:spChg>
      </pc:sldChg>
      <pc:sldChg chg="addSp modSp mod">
        <pc:chgData name="Moris Montejo" userId="55e843e1-b95f-4cc0-a457-c4d5fafa72c5" providerId="ADAL" clId="{76F402D8-4071-45EB-BC1D-F7B5AFC85CE1}" dt="2023-05-04T16:34:44.404" v="54"/>
        <pc:sldMkLst>
          <pc:docMk/>
          <pc:sldMk cId="2271121934" sldId="274"/>
        </pc:sldMkLst>
        <pc:spChg chg="mod">
          <ac:chgData name="Moris Montejo" userId="55e843e1-b95f-4cc0-a457-c4d5fafa72c5" providerId="ADAL" clId="{76F402D8-4071-45EB-BC1D-F7B5AFC85CE1}" dt="2023-05-04T16:31:13.079" v="3" actId="207"/>
          <ac:spMkLst>
            <pc:docMk/>
            <pc:sldMk cId="2271121934" sldId="274"/>
            <ac:spMk id="2" creationId="{00000000-0000-0000-0000-000000000000}"/>
          </ac:spMkLst>
        </pc:spChg>
        <pc:spChg chg="add mod">
          <ac:chgData name="Moris Montejo" userId="55e843e1-b95f-4cc0-a457-c4d5fafa72c5" providerId="ADAL" clId="{76F402D8-4071-45EB-BC1D-F7B5AFC85CE1}" dt="2023-05-04T16:34:44.404" v="54"/>
          <ac:spMkLst>
            <pc:docMk/>
            <pc:sldMk cId="2271121934" sldId="274"/>
            <ac:spMk id="3" creationId="{50BE9153-C983-E8C9-A8FA-197045FF322A}"/>
          </ac:spMkLst>
        </pc:spChg>
      </pc:sldChg>
      <pc:sldChg chg="addSp modSp mod">
        <pc:chgData name="Moris Montejo" userId="55e843e1-b95f-4cc0-a457-c4d5fafa72c5" providerId="ADAL" clId="{76F402D8-4071-45EB-BC1D-F7B5AFC85CE1}" dt="2023-05-04T16:34:45.475" v="55"/>
        <pc:sldMkLst>
          <pc:docMk/>
          <pc:sldMk cId="724116940" sldId="275"/>
        </pc:sldMkLst>
        <pc:spChg chg="mod">
          <ac:chgData name="Moris Montejo" userId="55e843e1-b95f-4cc0-a457-c4d5fafa72c5" providerId="ADAL" clId="{76F402D8-4071-45EB-BC1D-F7B5AFC85CE1}" dt="2023-05-04T16:31:16.986" v="4" actId="207"/>
          <ac:spMkLst>
            <pc:docMk/>
            <pc:sldMk cId="724116940" sldId="275"/>
            <ac:spMk id="2" creationId="{00000000-0000-0000-0000-000000000000}"/>
          </ac:spMkLst>
        </pc:spChg>
        <pc:spChg chg="add mod">
          <ac:chgData name="Moris Montejo" userId="55e843e1-b95f-4cc0-a457-c4d5fafa72c5" providerId="ADAL" clId="{76F402D8-4071-45EB-BC1D-F7B5AFC85CE1}" dt="2023-05-04T16:34:45.475" v="55"/>
          <ac:spMkLst>
            <pc:docMk/>
            <pc:sldMk cId="724116940" sldId="275"/>
            <ac:spMk id="3" creationId="{E10A64E1-27CC-3511-B2FE-0B0E919DB82F}"/>
          </ac:spMkLst>
        </pc:spChg>
      </pc:sldChg>
      <pc:sldChg chg="addSp modSp mod">
        <pc:chgData name="Moris Montejo" userId="55e843e1-b95f-4cc0-a457-c4d5fafa72c5" providerId="ADAL" clId="{76F402D8-4071-45EB-BC1D-F7B5AFC85CE1}" dt="2023-05-04T16:34:46.649" v="56"/>
        <pc:sldMkLst>
          <pc:docMk/>
          <pc:sldMk cId="3702944290" sldId="276"/>
        </pc:sldMkLst>
        <pc:spChg chg="mod">
          <ac:chgData name="Moris Montejo" userId="55e843e1-b95f-4cc0-a457-c4d5fafa72c5" providerId="ADAL" clId="{76F402D8-4071-45EB-BC1D-F7B5AFC85CE1}" dt="2023-05-04T16:31:21.473" v="5" actId="207"/>
          <ac:spMkLst>
            <pc:docMk/>
            <pc:sldMk cId="3702944290" sldId="276"/>
            <ac:spMk id="2" creationId="{00000000-0000-0000-0000-000000000000}"/>
          </ac:spMkLst>
        </pc:spChg>
        <pc:spChg chg="add mod">
          <ac:chgData name="Moris Montejo" userId="55e843e1-b95f-4cc0-a457-c4d5fafa72c5" providerId="ADAL" clId="{76F402D8-4071-45EB-BC1D-F7B5AFC85CE1}" dt="2023-05-04T16:34:46.649" v="56"/>
          <ac:spMkLst>
            <pc:docMk/>
            <pc:sldMk cId="3702944290" sldId="276"/>
            <ac:spMk id="3" creationId="{D9A5B43D-9A7F-89CC-3AFF-0336B0D73E05}"/>
          </ac:spMkLst>
        </pc:spChg>
      </pc:sldChg>
      <pc:sldChg chg="addSp delSp modSp mod">
        <pc:chgData name="Moris Montejo" userId="55e843e1-b95f-4cc0-a457-c4d5fafa72c5" providerId="ADAL" clId="{76F402D8-4071-45EB-BC1D-F7B5AFC85CE1}" dt="2023-05-04T16:34:48.374" v="57"/>
        <pc:sldMkLst>
          <pc:docMk/>
          <pc:sldMk cId="610561435" sldId="277"/>
        </pc:sldMkLst>
        <pc:spChg chg="mod">
          <ac:chgData name="Moris Montejo" userId="55e843e1-b95f-4cc0-a457-c4d5fafa72c5" providerId="ADAL" clId="{76F402D8-4071-45EB-BC1D-F7B5AFC85CE1}" dt="2023-05-04T16:31:25.991" v="6" actId="207"/>
          <ac:spMkLst>
            <pc:docMk/>
            <pc:sldMk cId="610561435" sldId="277"/>
            <ac:spMk id="2" creationId="{00000000-0000-0000-0000-000000000000}"/>
          </ac:spMkLst>
        </pc:spChg>
        <pc:spChg chg="add mod">
          <ac:chgData name="Moris Montejo" userId="55e843e1-b95f-4cc0-a457-c4d5fafa72c5" providerId="ADAL" clId="{76F402D8-4071-45EB-BC1D-F7B5AFC85CE1}" dt="2023-05-04T16:34:48.374" v="57"/>
          <ac:spMkLst>
            <pc:docMk/>
            <pc:sldMk cId="610561435" sldId="277"/>
            <ac:spMk id="3" creationId="{E1B09949-F6A3-284C-B9B3-0B64C3FFAE9B}"/>
          </ac:spMkLst>
        </pc:spChg>
        <pc:spChg chg="del">
          <ac:chgData name="Moris Montejo" userId="55e843e1-b95f-4cc0-a457-c4d5fafa72c5" providerId="ADAL" clId="{76F402D8-4071-45EB-BC1D-F7B5AFC85CE1}" dt="2023-05-04T16:31:29.788" v="7" actId="478"/>
          <ac:spMkLst>
            <pc:docMk/>
            <pc:sldMk cId="610561435" sldId="277"/>
            <ac:spMk id="4" creationId="{79819F75-C0F3-4555-B6DE-68DF8ABFB91B}"/>
          </ac:spMkLst>
        </pc:spChg>
      </pc:sldChg>
      <pc:sldChg chg="addSp modSp mod">
        <pc:chgData name="Moris Montejo" userId="55e843e1-b95f-4cc0-a457-c4d5fafa72c5" providerId="ADAL" clId="{76F402D8-4071-45EB-BC1D-F7B5AFC85CE1}" dt="2023-05-04T16:34:52.217" v="60"/>
        <pc:sldMkLst>
          <pc:docMk/>
          <pc:sldMk cId="3925571220" sldId="279"/>
        </pc:sldMkLst>
        <pc:spChg chg="mod">
          <ac:chgData name="Moris Montejo" userId="55e843e1-b95f-4cc0-a457-c4d5fafa72c5" providerId="ADAL" clId="{76F402D8-4071-45EB-BC1D-F7B5AFC85CE1}" dt="2023-05-04T16:31:46.138" v="11" actId="207"/>
          <ac:spMkLst>
            <pc:docMk/>
            <pc:sldMk cId="3925571220" sldId="279"/>
            <ac:spMk id="3" creationId="{00000000-0000-0000-0000-000000000000}"/>
          </ac:spMkLst>
        </pc:spChg>
        <pc:spChg chg="add mod">
          <ac:chgData name="Moris Montejo" userId="55e843e1-b95f-4cc0-a457-c4d5fafa72c5" providerId="ADAL" clId="{76F402D8-4071-45EB-BC1D-F7B5AFC85CE1}" dt="2023-05-04T16:34:52.217" v="60"/>
          <ac:spMkLst>
            <pc:docMk/>
            <pc:sldMk cId="3925571220" sldId="279"/>
            <ac:spMk id="6" creationId="{F397FF87-FBE1-2CE0-3485-375C8D33870F}"/>
          </ac:spMkLst>
        </pc:spChg>
      </pc:sldChg>
      <pc:sldChg chg="addSp modSp mod">
        <pc:chgData name="Moris Montejo" userId="55e843e1-b95f-4cc0-a457-c4d5fafa72c5" providerId="ADAL" clId="{76F402D8-4071-45EB-BC1D-F7B5AFC85CE1}" dt="2023-05-04T16:34:53.407" v="61"/>
        <pc:sldMkLst>
          <pc:docMk/>
          <pc:sldMk cId="601854313" sldId="280"/>
        </pc:sldMkLst>
        <pc:spChg chg="mod">
          <ac:chgData name="Moris Montejo" userId="55e843e1-b95f-4cc0-a457-c4d5fafa72c5" providerId="ADAL" clId="{76F402D8-4071-45EB-BC1D-F7B5AFC85CE1}" dt="2023-05-04T16:31:49.308" v="12" actId="207"/>
          <ac:spMkLst>
            <pc:docMk/>
            <pc:sldMk cId="601854313" sldId="280"/>
            <ac:spMk id="3" creationId="{00000000-0000-0000-0000-000000000000}"/>
          </ac:spMkLst>
        </pc:spChg>
        <pc:spChg chg="add mod">
          <ac:chgData name="Moris Montejo" userId="55e843e1-b95f-4cc0-a457-c4d5fafa72c5" providerId="ADAL" clId="{76F402D8-4071-45EB-BC1D-F7B5AFC85CE1}" dt="2023-05-04T16:34:53.407" v="61"/>
          <ac:spMkLst>
            <pc:docMk/>
            <pc:sldMk cId="601854313" sldId="280"/>
            <ac:spMk id="5" creationId="{173F07B0-7D39-6B65-C541-7A88A86DABB3}"/>
          </ac:spMkLst>
        </pc:spChg>
      </pc:sldChg>
      <pc:sldChg chg="addSp modSp mod">
        <pc:chgData name="Moris Montejo" userId="55e843e1-b95f-4cc0-a457-c4d5fafa72c5" providerId="ADAL" clId="{76F402D8-4071-45EB-BC1D-F7B5AFC85CE1}" dt="2023-05-04T16:34:55.963" v="63"/>
        <pc:sldMkLst>
          <pc:docMk/>
          <pc:sldMk cId="1002577048" sldId="281"/>
        </pc:sldMkLst>
        <pc:spChg chg="mod">
          <ac:chgData name="Moris Montejo" userId="55e843e1-b95f-4cc0-a457-c4d5fafa72c5" providerId="ADAL" clId="{76F402D8-4071-45EB-BC1D-F7B5AFC85CE1}" dt="2023-05-04T16:31:57.898" v="14" actId="207"/>
          <ac:spMkLst>
            <pc:docMk/>
            <pc:sldMk cId="1002577048" sldId="281"/>
            <ac:spMk id="3" creationId="{00000000-0000-0000-0000-000000000000}"/>
          </ac:spMkLst>
        </pc:spChg>
        <pc:spChg chg="add mod">
          <ac:chgData name="Moris Montejo" userId="55e843e1-b95f-4cc0-a457-c4d5fafa72c5" providerId="ADAL" clId="{76F402D8-4071-45EB-BC1D-F7B5AFC85CE1}" dt="2023-05-04T16:34:55.963" v="63"/>
          <ac:spMkLst>
            <pc:docMk/>
            <pc:sldMk cId="1002577048" sldId="281"/>
            <ac:spMk id="6" creationId="{6DF25F33-EF52-C1B7-6DCD-ABBCCEE67286}"/>
          </ac:spMkLst>
        </pc:spChg>
      </pc:sldChg>
      <pc:sldChg chg="addSp modSp mod">
        <pc:chgData name="Moris Montejo" userId="55e843e1-b95f-4cc0-a457-c4d5fafa72c5" providerId="ADAL" clId="{76F402D8-4071-45EB-BC1D-F7B5AFC85CE1}" dt="2023-05-04T16:34:54.831" v="62"/>
        <pc:sldMkLst>
          <pc:docMk/>
          <pc:sldMk cId="815473112" sldId="282"/>
        </pc:sldMkLst>
        <pc:spChg chg="mod">
          <ac:chgData name="Moris Montejo" userId="55e843e1-b95f-4cc0-a457-c4d5fafa72c5" providerId="ADAL" clId="{76F402D8-4071-45EB-BC1D-F7B5AFC85CE1}" dt="2023-05-04T16:31:54.474" v="13" actId="207"/>
          <ac:spMkLst>
            <pc:docMk/>
            <pc:sldMk cId="815473112" sldId="282"/>
            <ac:spMk id="2" creationId="{00000000-0000-0000-0000-000000000000}"/>
          </ac:spMkLst>
        </pc:spChg>
        <pc:spChg chg="add mod">
          <ac:chgData name="Moris Montejo" userId="55e843e1-b95f-4cc0-a457-c4d5fafa72c5" providerId="ADAL" clId="{76F402D8-4071-45EB-BC1D-F7B5AFC85CE1}" dt="2023-05-04T16:34:54.831" v="62"/>
          <ac:spMkLst>
            <pc:docMk/>
            <pc:sldMk cId="815473112" sldId="282"/>
            <ac:spMk id="5" creationId="{C889F3CC-105A-DE67-A98B-1A6A9F9D1179}"/>
          </ac:spMkLst>
        </pc:spChg>
      </pc:sldChg>
      <pc:sldChg chg="addSp modSp mod">
        <pc:chgData name="Moris Montejo" userId="55e843e1-b95f-4cc0-a457-c4d5fafa72c5" providerId="ADAL" clId="{76F402D8-4071-45EB-BC1D-F7B5AFC85CE1}" dt="2023-05-04T16:34:57.173" v="64"/>
        <pc:sldMkLst>
          <pc:docMk/>
          <pc:sldMk cId="1989338790" sldId="283"/>
        </pc:sldMkLst>
        <pc:spChg chg="mod">
          <ac:chgData name="Moris Montejo" userId="55e843e1-b95f-4cc0-a457-c4d5fafa72c5" providerId="ADAL" clId="{76F402D8-4071-45EB-BC1D-F7B5AFC85CE1}" dt="2023-05-04T16:32:01.389" v="15" actId="207"/>
          <ac:spMkLst>
            <pc:docMk/>
            <pc:sldMk cId="1989338790" sldId="283"/>
            <ac:spMk id="3" creationId="{00000000-0000-0000-0000-000000000000}"/>
          </ac:spMkLst>
        </pc:spChg>
        <pc:spChg chg="add mod">
          <ac:chgData name="Moris Montejo" userId="55e843e1-b95f-4cc0-a457-c4d5fafa72c5" providerId="ADAL" clId="{76F402D8-4071-45EB-BC1D-F7B5AFC85CE1}" dt="2023-05-04T16:34:57.173" v="64"/>
          <ac:spMkLst>
            <pc:docMk/>
            <pc:sldMk cId="1989338790" sldId="283"/>
            <ac:spMk id="5" creationId="{63C11CB4-58A2-61A4-B4B1-FEDFB081C157}"/>
          </ac:spMkLst>
        </pc:spChg>
      </pc:sldChg>
      <pc:sldChg chg="addSp modSp mod">
        <pc:chgData name="Moris Montejo" userId="55e843e1-b95f-4cc0-a457-c4d5fafa72c5" providerId="ADAL" clId="{76F402D8-4071-45EB-BC1D-F7B5AFC85CE1}" dt="2023-05-04T16:35:18.111" v="70"/>
        <pc:sldMkLst>
          <pc:docMk/>
          <pc:sldMk cId="4130837256" sldId="285"/>
        </pc:sldMkLst>
        <pc:spChg chg="mod">
          <ac:chgData name="Moris Montejo" userId="55e843e1-b95f-4cc0-a457-c4d5fafa72c5" providerId="ADAL" clId="{76F402D8-4071-45EB-BC1D-F7B5AFC85CE1}" dt="2023-05-04T16:32:12.121" v="18" actId="207"/>
          <ac:spMkLst>
            <pc:docMk/>
            <pc:sldMk cId="4130837256" sldId="285"/>
            <ac:spMk id="3" creationId="{00000000-0000-0000-0000-000000000000}"/>
          </ac:spMkLst>
        </pc:spChg>
        <pc:spChg chg="add mod">
          <ac:chgData name="Moris Montejo" userId="55e843e1-b95f-4cc0-a457-c4d5fafa72c5" providerId="ADAL" clId="{76F402D8-4071-45EB-BC1D-F7B5AFC85CE1}" dt="2023-05-04T16:35:18.111" v="70"/>
          <ac:spMkLst>
            <pc:docMk/>
            <pc:sldMk cId="4130837256" sldId="285"/>
            <ac:spMk id="4" creationId="{BFC74AC0-1B46-CBDF-5F41-1E2748D12316}"/>
          </ac:spMkLst>
        </pc:spChg>
      </pc:sldChg>
      <pc:sldChg chg="addSp modSp mod">
        <pc:chgData name="Moris Montejo" userId="55e843e1-b95f-4cc0-a457-c4d5fafa72c5" providerId="ADAL" clId="{76F402D8-4071-45EB-BC1D-F7B5AFC85CE1}" dt="2023-05-04T16:35:20.529" v="71"/>
        <pc:sldMkLst>
          <pc:docMk/>
          <pc:sldMk cId="1775881621" sldId="286"/>
        </pc:sldMkLst>
        <pc:spChg chg="mod">
          <ac:chgData name="Moris Montejo" userId="55e843e1-b95f-4cc0-a457-c4d5fafa72c5" providerId="ADAL" clId="{76F402D8-4071-45EB-BC1D-F7B5AFC85CE1}" dt="2023-05-04T16:32:15.728" v="19" actId="207"/>
          <ac:spMkLst>
            <pc:docMk/>
            <pc:sldMk cId="1775881621" sldId="286"/>
            <ac:spMk id="3" creationId="{00000000-0000-0000-0000-000000000000}"/>
          </ac:spMkLst>
        </pc:spChg>
        <pc:spChg chg="add mod">
          <ac:chgData name="Moris Montejo" userId="55e843e1-b95f-4cc0-a457-c4d5fafa72c5" providerId="ADAL" clId="{76F402D8-4071-45EB-BC1D-F7B5AFC85CE1}" dt="2023-05-04T16:35:20.529" v="71"/>
          <ac:spMkLst>
            <pc:docMk/>
            <pc:sldMk cId="1775881621" sldId="286"/>
            <ac:spMk id="4" creationId="{1A62C531-72F3-5641-FF50-B83A4A33A77F}"/>
          </ac:spMkLst>
        </pc:spChg>
      </pc:sldChg>
      <pc:sldChg chg="modSp mod">
        <pc:chgData name="Moris Montejo" userId="55e843e1-b95f-4cc0-a457-c4d5fafa72c5" providerId="ADAL" clId="{76F402D8-4071-45EB-BC1D-F7B5AFC85CE1}" dt="2023-05-04T16:32:23.126" v="21" actId="207"/>
        <pc:sldMkLst>
          <pc:docMk/>
          <pc:sldMk cId="1906481576" sldId="287"/>
        </pc:sldMkLst>
        <pc:spChg chg="mod">
          <ac:chgData name="Moris Montejo" userId="55e843e1-b95f-4cc0-a457-c4d5fafa72c5" providerId="ADAL" clId="{76F402D8-4071-45EB-BC1D-F7B5AFC85CE1}" dt="2023-05-04T16:32:23.126" v="21" actId="207"/>
          <ac:spMkLst>
            <pc:docMk/>
            <pc:sldMk cId="1906481576" sldId="287"/>
            <ac:spMk id="3" creationId="{00000000-0000-0000-0000-000000000000}"/>
          </ac:spMkLst>
        </pc:spChg>
      </pc:sldChg>
      <pc:sldChg chg="addSp delSp modSp mod">
        <pc:chgData name="Moris Montejo" userId="55e843e1-b95f-4cc0-a457-c4d5fafa72c5" providerId="ADAL" clId="{76F402D8-4071-45EB-BC1D-F7B5AFC85CE1}" dt="2023-05-04T16:35:29.447" v="75"/>
        <pc:sldMkLst>
          <pc:docMk/>
          <pc:sldMk cId="1580726745" sldId="288"/>
        </pc:sldMkLst>
        <pc:spChg chg="mod">
          <ac:chgData name="Moris Montejo" userId="55e843e1-b95f-4cc0-a457-c4d5fafa72c5" providerId="ADAL" clId="{76F402D8-4071-45EB-BC1D-F7B5AFC85CE1}" dt="2023-05-04T16:32:19.769" v="20" actId="207"/>
          <ac:spMkLst>
            <pc:docMk/>
            <pc:sldMk cId="1580726745" sldId="288"/>
            <ac:spMk id="3" creationId="{00000000-0000-0000-0000-000000000000}"/>
          </ac:spMkLst>
        </pc:spChg>
        <pc:spChg chg="add del mod">
          <ac:chgData name="Moris Montejo" userId="55e843e1-b95f-4cc0-a457-c4d5fafa72c5" providerId="ADAL" clId="{76F402D8-4071-45EB-BC1D-F7B5AFC85CE1}" dt="2023-05-04T16:35:24.014" v="73"/>
          <ac:spMkLst>
            <pc:docMk/>
            <pc:sldMk cId="1580726745" sldId="288"/>
            <ac:spMk id="4" creationId="{94F23937-EA11-AD37-3B56-D7A3A58906A3}"/>
          </ac:spMkLst>
        </pc:spChg>
        <pc:spChg chg="mod">
          <ac:chgData name="Moris Montejo" userId="55e843e1-b95f-4cc0-a457-c4d5fafa72c5" providerId="ADAL" clId="{76F402D8-4071-45EB-BC1D-F7B5AFC85CE1}" dt="2023-05-04T16:35:28.359" v="74" actId="1076"/>
          <ac:spMkLst>
            <pc:docMk/>
            <pc:sldMk cId="1580726745" sldId="288"/>
            <ac:spMk id="5" creationId="{6488C7F2-5B1C-2033-B79E-016B4FCA15BA}"/>
          </ac:spMkLst>
        </pc:spChg>
        <pc:spChg chg="add mod">
          <ac:chgData name="Moris Montejo" userId="55e843e1-b95f-4cc0-a457-c4d5fafa72c5" providerId="ADAL" clId="{76F402D8-4071-45EB-BC1D-F7B5AFC85CE1}" dt="2023-05-04T16:35:29.447" v="75"/>
          <ac:spMkLst>
            <pc:docMk/>
            <pc:sldMk cId="1580726745" sldId="288"/>
            <ac:spMk id="6" creationId="{9197B8A1-3968-8D28-2EFA-793D268B4636}"/>
          </ac:spMkLst>
        </pc:spChg>
      </pc:sldChg>
      <pc:sldChg chg="addSp modSp mod">
        <pc:chgData name="Moris Montejo" userId="55e843e1-b95f-4cc0-a457-c4d5fafa72c5" providerId="ADAL" clId="{76F402D8-4071-45EB-BC1D-F7B5AFC85CE1}" dt="2023-05-04T16:35:37.945" v="77"/>
        <pc:sldMkLst>
          <pc:docMk/>
          <pc:sldMk cId="1704127205" sldId="289"/>
        </pc:sldMkLst>
        <pc:spChg chg="mod">
          <ac:chgData name="Moris Montejo" userId="55e843e1-b95f-4cc0-a457-c4d5fafa72c5" providerId="ADAL" clId="{76F402D8-4071-45EB-BC1D-F7B5AFC85CE1}" dt="2023-05-04T16:32:26.196" v="22" actId="207"/>
          <ac:spMkLst>
            <pc:docMk/>
            <pc:sldMk cId="1704127205" sldId="289"/>
            <ac:spMk id="3" creationId="{00000000-0000-0000-0000-000000000000}"/>
          </ac:spMkLst>
        </pc:spChg>
        <pc:spChg chg="add mod">
          <ac:chgData name="Moris Montejo" userId="55e843e1-b95f-4cc0-a457-c4d5fafa72c5" providerId="ADAL" clId="{76F402D8-4071-45EB-BC1D-F7B5AFC85CE1}" dt="2023-05-04T16:35:37.945" v="77"/>
          <ac:spMkLst>
            <pc:docMk/>
            <pc:sldMk cId="1704127205" sldId="289"/>
            <ac:spMk id="4" creationId="{4E5858A1-18F7-D4CD-CFD7-4D93BDCD38A2}"/>
          </ac:spMkLst>
        </pc:spChg>
        <pc:spChg chg="mod">
          <ac:chgData name="Moris Montejo" userId="55e843e1-b95f-4cc0-a457-c4d5fafa72c5" providerId="ADAL" clId="{76F402D8-4071-45EB-BC1D-F7B5AFC85CE1}" dt="2023-05-04T16:35:36.656" v="76" actId="1076"/>
          <ac:spMkLst>
            <pc:docMk/>
            <pc:sldMk cId="1704127205" sldId="289"/>
            <ac:spMk id="5" creationId="{CB5DBEB3-A17C-9D10-9623-6B5202783C81}"/>
          </ac:spMkLst>
        </pc:spChg>
      </pc:sldChg>
      <pc:sldChg chg="addSp modSp mod">
        <pc:chgData name="Moris Montejo" userId="55e843e1-b95f-4cc0-a457-c4d5fafa72c5" providerId="ADAL" clId="{76F402D8-4071-45EB-BC1D-F7B5AFC85CE1}" dt="2023-05-04T16:35:50.750" v="81"/>
        <pc:sldMkLst>
          <pc:docMk/>
          <pc:sldMk cId="3758785367" sldId="290"/>
        </pc:sldMkLst>
        <pc:spChg chg="mod">
          <ac:chgData name="Moris Montejo" userId="55e843e1-b95f-4cc0-a457-c4d5fafa72c5" providerId="ADAL" clId="{76F402D8-4071-45EB-BC1D-F7B5AFC85CE1}" dt="2023-05-04T16:32:33.084" v="24" actId="207"/>
          <ac:spMkLst>
            <pc:docMk/>
            <pc:sldMk cId="3758785367" sldId="290"/>
            <ac:spMk id="3" creationId="{00000000-0000-0000-0000-000000000000}"/>
          </ac:spMkLst>
        </pc:spChg>
        <pc:spChg chg="add mod">
          <ac:chgData name="Moris Montejo" userId="55e843e1-b95f-4cc0-a457-c4d5fafa72c5" providerId="ADAL" clId="{76F402D8-4071-45EB-BC1D-F7B5AFC85CE1}" dt="2023-05-04T16:35:50.750" v="81"/>
          <ac:spMkLst>
            <pc:docMk/>
            <pc:sldMk cId="3758785367" sldId="290"/>
            <ac:spMk id="4" creationId="{0AB0C027-2363-D701-F326-4206A517BF18}"/>
          </ac:spMkLst>
        </pc:spChg>
        <pc:spChg chg="mod">
          <ac:chgData name="Moris Montejo" userId="55e843e1-b95f-4cc0-a457-c4d5fafa72c5" providerId="ADAL" clId="{76F402D8-4071-45EB-BC1D-F7B5AFC85CE1}" dt="2023-05-04T16:35:49.351" v="80" actId="1076"/>
          <ac:spMkLst>
            <pc:docMk/>
            <pc:sldMk cId="3758785367" sldId="290"/>
            <ac:spMk id="5" creationId="{51DF5602-71B9-463E-8B6F-D883F7D34BCA}"/>
          </ac:spMkLst>
        </pc:spChg>
      </pc:sldChg>
      <pc:sldChg chg="addSp modSp mod">
        <pc:chgData name="Moris Montejo" userId="55e843e1-b95f-4cc0-a457-c4d5fafa72c5" providerId="ADAL" clId="{76F402D8-4071-45EB-BC1D-F7B5AFC85CE1}" dt="2023-05-04T16:35:53.531" v="82"/>
        <pc:sldMkLst>
          <pc:docMk/>
          <pc:sldMk cId="3047581608" sldId="293"/>
        </pc:sldMkLst>
        <pc:spChg chg="mod">
          <ac:chgData name="Moris Montejo" userId="55e843e1-b95f-4cc0-a457-c4d5fafa72c5" providerId="ADAL" clId="{76F402D8-4071-45EB-BC1D-F7B5AFC85CE1}" dt="2023-05-04T16:32:43.070" v="25" actId="207"/>
          <ac:spMkLst>
            <pc:docMk/>
            <pc:sldMk cId="3047581608" sldId="293"/>
            <ac:spMk id="3" creationId="{00000000-0000-0000-0000-000000000000}"/>
          </ac:spMkLst>
        </pc:spChg>
        <pc:spChg chg="add mod">
          <ac:chgData name="Moris Montejo" userId="55e843e1-b95f-4cc0-a457-c4d5fafa72c5" providerId="ADAL" clId="{76F402D8-4071-45EB-BC1D-F7B5AFC85CE1}" dt="2023-05-04T16:35:53.531" v="82"/>
          <ac:spMkLst>
            <pc:docMk/>
            <pc:sldMk cId="3047581608" sldId="293"/>
            <ac:spMk id="5" creationId="{0809E660-05B4-981B-C83E-B45084775740}"/>
          </ac:spMkLst>
        </pc:spChg>
      </pc:sldChg>
      <pc:sldChg chg="addSp modSp mod">
        <pc:chgData name="Moris Montejo" userId="55e843e1-b95f-4cc0-a457-c4d5fafa72c5" providerId="ADAL" clId="{76F402D8-4071-45EB-BC1D-F7B5AFC85CE1}" dt="2023-05-04T16:35:58.415" v="85"/>
        <pc:sldMkLst>
          <pc:docMk/>
          <pc:sldMk cId="1707684876" sldId="294"/>
        </pc:sldMkLst>
        <pc:spChg chg="mod">
          <ac:chgData name="Moris Montejo" userId="55e843e1-b95f-4cc0-a457-c4d5fafa72c5" providerId="ADAL" clId="{76F402D8-4071-45EB-BC1D-F7B5AFC85CE1}" dt="2023-05-04T16:32:54.227" v="28" actId="207"/>
          <ac:spMkLst>
            <pc:docMk/>
            <pc:sldMk cId="1707684876" sldId="294"/>
            <ac:spMk id="3" creationId="{00000000-0000-0000-0000-000000000000}"/>
          </ac:spMkLst>
        </pc:spChg>
        <pc:spChg chg="add mod">
          <ac:chgData name="Moris Montejo" userId="55e843e1-b95f-4cc0-a457-c4d5fafa72c5" providerId="ADAL" clId="{76F402D8-4071-45EB-BC1D-F7B5AFC85CE1}" dt="2023-05-04T16:35:58.415" v="85"/>
          <ac:spMkLst>
            <pc:docMk/>
            <pc:sldMk cId="1707684876" sldId="294"/>
            <ac:spMk id="5" creationId="{2AC3C1CF-8655-0A53-7BF5-AA4D30F74D49}"/>
          </ac:spMkLst>
        </pc:spChg>
      </pc:sldChg>
      <pc:sldChg chg="addSp modSp mod">
        <pc:chgData name="Moris Montejo" userId="55e843e1-b95f-4cc0-a457-c4d5fafa72c5" providerId="ADAL" clId="{76F402D8-4071-45EB-BC1D-F7B5AFC85CE1}" dt="2023-05-04T16:36:07.889" v="89" actId="1076"/>
        <pc:sldMkLst>
          <pc:docMk/>
          <pc:sldMk cId="619086979" sldId="295"/>
        </pc:sldMkLst>
        <pc:spChg chg="mod">
          <ac:chgData name="Moris Montejo" userId="55e843e1-b95f-4cc0-a457-c4d5fafa72c5" providerId="ADAL" clId="{76F402D8-4071-45EB-BC1D-F7B5AFC85CE1}" dt="2023-05-04T16:33:04.816" v="31" actId="207"/>
          <ac:spMkLst>
            <pc:docMk/>
            <pc:sldMk cId="619086979" sldId="295"/>
            <ac:spMk id="3" creationId="{00000000-0000-0000-0000-000000000000}"/>
          </ac:spMkLst>
        </pc:spChg>
        <pc:spChg chg="add mod">
          <ac:chgData name="Moris Montejo" userId="55e843e1-b95f-4cc0-a457-c4d5fafa72c5" providerId="ADAL" clId="{76F402D8-4071-45EB-BC1D-F7B5AFC85CE1}" dt="2023-05-04T16:36:04.770" v="88"/>
          <ac:spMkLst>
            <pc:docMk/>
            <pc:sldMk cId="619086979" sldId="295"/>
            <ac:spMk id="5" creationId="{109E756A-5562-95C4-4942-186F4D612304}"/>
          </ac:spMkLst>
        </pc:spChg>
        <pc:spChg chg="mod">
          <ac:chgData name="Moris Montejo" userId="55e843e1-b95f-4cc0-a457-c4d5fafa72c5" providerId="ADAL" clId="{76F402D8-4071-45EB-BC1D-F7B5AFC85CE1}" dt="2023-05-04T16:36:07.889" v="89" actId="1076"/>
          <ac:spMkLst>
            <pc:docMk/>
            <pc:sldMk cId="619086979" sldId="295"/>
            <ac:spMk id="9" creationId="{51B180C9-ECB4-8DD5-653C-241573B418A6}"/>
          </ac:spMkLst>
        </pc:spChg>
      </pc:sldChg>
      <pc:sldChg chg="addSp modSp mod">
        <pc:chgData name="Moris Montejo" userId="55e843e1-b95f-4cc0-a457-c4d5fafa72c5" providerId="ADAL" clId="{76F402D8-4071-45EB-BC1D-F7B5AFC85CE1}" dt="2023-05-04T16:36:02.438" v="87"/>
        <pc:sldMkLst>
          <pc:docMk/>
          <pc:sldMk cId="4241482967" sldId="296"/>
        </pc:sldMkLst>
        <pc:spChg chg="mod">
          <ac:chgData name="Moris Montejo" userId="55e843e1-b95f-4cc0-a457-c4d5fafa72c5" providerId="ADAL" clId="{76F402D8-4071-45EB-BC1D-F7B5AFC85CE1}" dt="2023-05-04T16:33:01.193" v="30" actId="207"/>
          <ac:spMkLst>
            <pc:docMk/>
            <pc:sldMk cId="4241482967" sldId="296"/>
            <ac:spMk id="3" creationId="{00000000-0000-0000-0000-000000000000}"/>
          </ac:spMkLst>
        </pc:spChg>
        <pc:spChg chg="add mod">
          <ac:chgData name="Moris Montejo" userId="55e843e1-b95f-4cc0-a457-c4d5fafa72c5" providerId="ADAL" clId="{76F402D8-4071-45EB-BC1D-F7B5AFC85CE1}" dt="2023-05-04T16:36:02.438" v="87"/>
          <ac:spMkLst>
            <pc:docMk/>
            <pc:sldMk cId="4241482967" sldId="296"/>
            <ac:spMk id="5" creationId="{31036E5C-B8EE-825D-E9BC-FA1578635AA7}"/>
          </ac:spMkLst>
        </pc:spChg>
      </pc:sldChg>
      <pc:sldChg chg="addSp modSp mod">
        <pc:chgData name="Moris Montejo" userId="55e843e1-b95f-4cc0-a457-c4d5fafa72c5" providerId="ADAL" clId="{76F402D8-4071-45EB-BC1D-F7B5AFC85CE1}" dt="2023-05-04T16:36:16.277" v="93"/>
        <pc:sldMkLst>
          <pc:docMk/>
          <pc:sldMk cId="1393845032" sldId="297"/>
        </pc:sldMkLst>
        <pc:spChg chg="mod">
          <ac:chgData name="Moris Montejo" userId="55e843e1-b95f-4cc0-a457-c4d5fafa72c5" providerId="ADAL" clId="{76F402D8-4071-45EB-BC1D-F7B5AFC85CE1}" dt="2023-05-04T16:33:18.023" v="35" actId="207"/>
          <ac:spMkLst>
            <pc:docMk/>
            <pc:sldMk cId="1393845032" sldId="297"/>
            <ac:spMk id="3" creationId="{00000000-0000-0000-0000-000000000000}"/>
          </ac:spMkLst>
        </pc:spChg>
        <pc:spChg chg="add mod">
          <ac:chgData name="Moris Montejo" userId="55e843e1-b95f-4cc0-a457-c4d5fafa72c5" providerId="ADAL" clId="{76F402D8-4071-45EB-BC1D-F7B5AFC85CE1}" dt="2023-05-04T16:36:16.277" v="93"/>
          <ac:spMkLst>
            <pc:docMk/>
            <pc:sldMk cId="1393845032" sldId="297"/>
            <ac:spMk id="6" creationId="{0B06BB4C-670A-A480-CCBD-02E0E8BBA082}"/>
          </ac:spMkLst>
        </pc:spChg>
      </pc:sldChg>
      <pc:sldChg chg="addSp modSp mod">
        <pc:chgData name="Moris Montejo" userId="55e843e1-b95f-4cc0-a457-c4d5fafa72c5" providerId="ADAL" clId="{76F402D8-4071-45EB-BC1D-F7B5AFC85CE1}" dt="2023-05-04T16:36:09.690" v="90"/>
        <pc:sldMkLst>
          <pc:docMk/>
          <pc:sldMk cId="297645679" sldId="298"/>
        </pc:sldMkLst>
        <pc:spChg chg="mod">
          <ac:chgData name="Moris Montejo" userId="55e843e1-b95f-4cc0-a457-c4d5fafa72c5" providerId="ADAL" clId="{76F402D8-4071-45EB-BC1D-F7B5AFC85CE1}" dt="2023-05-04T16:33:08.154" v="32" actId="207"/>
          <ac:spMkLst>
            <pc:docMk/>
            <pc:sldMk cId="297645679" sldId="298"/>
            <ac:spMk id="3" creationId="{00000000-0000-0000-0000-000000000000}"/>
          </ac:spMkLst>
        </pc:spChg>
        <pc:spChg chg="add mod">
          <ac:chgData name="Moris Montejo" userId="55e843e1-b95f-4cc0-a457-c4d5fafa72c5" providerId="ADAL" clId="{76F402D8-4071-45EB-BC1D-F7B5AFC85CE1}" dt="2023-05-04T16:36:09.690" v="90"/>
          <ac:spMkLst>
            <pc:docMk/>
            <pc:sldMk cId="297645679" sldId="298"/>
            <ac:spMk id="5" creationId="{C7D192D7-E56C-6A67-392D-86F42CDB603E}"/>
          </ac:spMkLst>
        </pc:spChg>
      </pc:sldChg>
      <pc:sldChg chg="addSp delSp modSp mod">
        <pc:chgData name="Moris Montejo" userId="55e843e1-b95f-4cc0-a457-c4d5fafa72c5" providerId="ADAL" clId="{76F402D8-4071-45EB-BC1D-F7B5AFC85CE1}" dt="2023-05-04T16:36:13.051" v="92"/>
        <pc:sldMkLst>
          <pc:docMk/>
          <pc:sldMk cId="321065863" sldId="299"/>
        </pc:sldMkLst>
        <pc:spChg chg="mod">
          <ac:chgData name="Moris Montejo" userId="55e843e1-b95f-4cc0-a457-c4d5fafa72c5" providerId="ADAL" clId="{76F402D8-4071-45EB-BC1D-F7B5AFC85CE1}" dt="2023-05-04T16:33:11.460" v="33" actId="207"/>
          <ac:spMkLst>
            <pc:docMk/>
            <pc:sldMk cId="321065863" sldId="299"/>
            <ac:spMk id="3" creationId="{00000000-0000-0000-0000-000000000000}"/>
          </ac:spMkLst>
        </pc:spChg>
        <pc:spChg chg="add del mod">
          <ac:chgData name="Moris Montejo" userId="55e843e1-b95f-4cc0-a457-c4d5fafa72c5" providerId="ADAL" clId="{76F402D8-4071-45EB-BC1D-F7B5AFC85CE1}" dt="2023-05-04T16:36:13.051" v="92"/>
          <ac:spMkLst>
            <pc:docMk/>
            <pc:sldMk cId="321065863" sldId="299"/>
            <ac:spMk id="5" creationId="{7C424CAB-DCE3-4CFA-F099-7DA9C5451A67}"/>
          </ac:spMkLst>
        </pc:spChg>
      </pc:sldChg>
      <pc:sldChg chg="addSp modSp mod">
        <pc:chgData name="Moris Montejo" userId="55e843e1-b95f-4cc0-a457-c4d5fafa72c5" providerId="ADAL" clId="{76F402D8-4071-45EB-BC1D-F7B5AFC85CE1}" dt="2023-05-04T16:36:18.022" v="94"/>
        <pc:sldMkLst>
          <pc:docMk/>
          <pc:sldMk cId="3851503898" sldId="300"/>
        </pc:sldMkLst>
        <pc:spChg chg="mod">
          <ac:chgData name="Moris Montejo" userId="55e843e1-b95f-4cc0-a457-c4d5fafa72c5" providerId="ADAL" clId="{76F402D8-4071-45EB-BC1D-F7B5AFC85CE1}" dt="2023-05-04T16:33:21.375" v="36" actId="207"/>
          <ac:spMkLst>
            <pc:docMk/>
            <pc:sldMk cId="3851503898" sldId="300"/>
            <ac:spMk id="3" creationId="{00000000-0000-0000-0000-000000000000}"/>
          </ac:spMkLst>
        </pc:spChg>
        <pc:spChg chg="add mod">
          <ac:chgData name="Moris Montejo" userId="55e843e1-b95f-4cc0-a457-c4d5fafa72c5" providerId="ADAL" clId="{76F402D8-4071-45EB-BC1D-F7B5AFC85CE1}" dt="2023-05-04T16:36:18.022" v="94"/>
          <ac:spMkLst>
            <pc:docMk/>
            <pc:sldMk cId="3851503898" sldId="300"/>
            <ac:spMk id="5" creationId="{375BE2CD-95C2-A076-82E8-F8426A2873D2}"/>
          </ac:spMkLst>
        </pc:spChg>
      </pc:sldChg>
      <pc:sldChg chg="addSp modSp mod">
        <pc:chgData name="Moris Montejo" userId="55e843e1-b95f-4cc0-a457-c4d5fafa72c5" providerId="ADAL" clId="{76F402D8-4071-45EB-BC1D-F7B5AFC85CE1}" dt="2023-05-04T16:36:19.255" v="95"/>
        <pc:sldMkLst>
          <pc:docMk/>
          <pc:sldMk cId="4036827784" sldId="302"/>
        </pc:sldMkLst>
        <pc:spChg chg="mod">
          <ac:chgData name="Moris Montejo" userId="55e843e1-b95f-4cc0-a457-c4d5fafa72c5" providerId="ADAL" clId="{76F402D8-4071-45EB-BC1D-F7B5AFC85CE1}" dt="2023-05-04T16:33:25.141" v="37" actId="207"/>
          <ac:spMkLst>
            <pc:docMk/>
            <pc:sldMk cId="4036827784" sldId="302"/>
            <ac:spMk id="3" creationId="{00000000-0000-0000-0000-000000000000}"/>
          </ac:spMkLst>
        </pc:spChg>
        <pc:spChg chg="add mod">
          <ac:chgData name="Moris Montejo" userId="55e843e1-b95f-4cc0-a457-c4d5fafa72c5" providerId="ADAL" clId="{76F402D8-4071-45EB-BC1D-F7B5AFC85CE1}" dt="2023-05-04T16:36:19.255" v="95"/>
          <ac:spMkLst>
            <pc:docMk/>
            <pc:sldMk cId="4036827784" sldId="302"/>
            <ac:spMk id="6" creationId="{3613D78A-F35B-41E0-CAFB-1BABDBA801B6}"/>
          </ac:spMkLst>
        </pc:spChg>
      </pc:sldChg>
      <pc:sldChg chg="addSp modSp mod">
        <pc:chgData name="Moris Montejo" userId="55e843e1-b95f-4cc0-a457-c4d5fafa72c5" providerId="ADAL" clId="{76F402D8-4071-45EB-BC1D-F7B5AFC85CE1}" dt="2023-05-04T16:36:22.775" v="97"/>
        <pc:sldMkLst>
          <pc:docMk/>
          <pc:sldMk cId="2914719712" sldId="303"/>
        </pc:sldMkLst>
        <pc:spChg chg="mod">
          <ac:chgData name="Moris Montejo" userId="55e843e1-b95f-4cc0-a457-c4d5fafa72c5" providerId="ADAL" clId="{76F402D8-4071-45EB-BC1D-F7B5AFC85CE1}" dt="2023-05-04T16:33:32.050" v="39" actId="207"/>
          <ac:spMkLst>
            <pc:docMk/>
            <pc:sldMk cId="2914719712" sldId="303"/>
            <ac:spMk id="3" creationId="{00000000-0000-0000-0000-000000000000}"/>
          </ac:spMkLst>
        </pc:spChg>
        <pc:spChg chg="add mod">
          <ac:chgData name="Moris Montejo" userId="55e843e1-b95f-4cc0-a457-c4d5fafa72c5" providerId="ADAL" clId="{76F402D8-4071-45EB-BC1D-F7B5AFC85CE1}" dt="2023-05-04T16:36:22.775" v="97"/>
          <ac:spMkLst>
            <pc:docMk/>
            <pc:sldMk cId="2914719712" sldId="303"/>
            <ac:spMk id="5" creationId="{270772B2-E2CF-4F97-AE25-93E543EF39F4}"/>
          </ac:spMkLst>
        </pc:spChg>
      </pc:sldChg>
      <pc:sldChg chg="addSp modSp mod">
        <pc:chgData name="Moris Montejo" userId="55e843e1-b95f-4cc0-a457-c4d5fafa72c5" providerId="ADAL" clId="{76F402D8-4071-45EB-BC1D-F7B5AFC85CE1}" dt="2023-05-04T16:36:21.432" v="96"/>
        <pc:sldMkLst>
          <pc:docMk/>
          <pc:sldMk cId="1831928673" sldId="304"/>
        </pc:sldMkLst>
        <pc:spChg chg="mod">
          <ac:chgData name="Moris Montejo" userId="55e843e1-b95f-4cc0-a457-c4d5fafa72c5" providerId="ADAL" clId="{76F402D8-4071-45EB-BC1D-F7B5AFC85CE1}" dt="2023-05-04T16:33:28.555" v="38" actId="207"/>
          <ac:spMkLst>
            <pc:docMk/>
            <pc:sldMk cId="1831928673" sldId="304"/>
            <ac:spMk id="3" creationId="{00000000-0000-0000-0000-000000000000}"/>
          </ac:spMkLst>
        </pc:spChg>
        <pc:spChg chg="add mod">
          <ac:chgData name="Moris Montejo" userId="55e843e1-b95f-4cc0-a457-c4d5fafa72c5" providerId="ADAL" clId="{76F402D8-4071-45EB-BC1D-F7B5AFC85CE1}" dt="2023-05-04T16:36:21.432" v="96"/>
          <ac:spMkLst>
            <pc:docMk/>
            <pc:sldMk cId="1831928673" sldId="304"/>
            <ac:spMk id="6" creationId="{FF67758A-0ABC-36BA-C90F-A1020526AD06}"/>
          </ac:spMkLst>
        </pc:spChg>
      </pc:sldChg>
      <pc:sldChg chg="addSp modSp mod">
        <pc:chgData name="Moris Montejo" userId="55e843e1-b95f-4cc0-a457-c4d5fafa72c5" providerId="ADAL" clId="{76F402D8-4071-45EB-BC1D-F7B5AFC85CE1}" dt="2023-05-04T16:36:23.984" v="98"/>
        <pc:sldMkLst>
          <pc:docMk/>
          <pc:sldMk cId="1005704245" sldId="307"/>
        </pc:sldMkLst>
        <pc:spChg chg="mod">
          <ac:chgData name="Moris Montejo" userId="55e843e1-b95f-4cc0-a457-c4d5fafa72c5" providerId="ADAL" clId="{76F402D8-4071-45EB-BC1D-F7B5AFC85CE1}" dt="2023-05-04T16:33:35.486" v="40" actId="207"/>
          <ac:spMkLst>
            <pc:docMk/>
            <pc:sldMk cId="1005704245" sldId="307"/>
            <ac:spMk id="3" creationId="{00000000-0000-0000-0000-000000000000}"/>
          </ac:spMkLst>
        </pc:spChg>
        <pc:spChg chg="add mod">
          <ac:chgData name="Moris Montejo" userId="55e843e1-b95f-4cc0-a457-c4d5fafa72c5" providerId="ADAL" clId="{76F402D8-4071-45EB-BC1D-F7B5AFC85CE1}" dt="2023-05-04T16:36:23.984" v="98"/>
          <ac:spMkLst>
            <pc:docMk/>
            <pc:sldMk cId="1005704245" sldId="307"/>
            <ac:spMk id="5" creationId="{77DC4D48-B32D-ACA2-92E8-37B4502A5066}"/>
          </ac:spMkLst>
        </pc:spChg>
      </pc:sldChg>
      <pc:sldChg chg="addSp modSp mod">
        <pc:chgData name="Moris Montejo" userId="55e843e1-b95f-4cc0-a457-c4d5fafa72c5" providerId="ADAL" clId="{76F402D8-4071-45EB-BC1D-F7B5AFC85CE1}" dt="2023-05-04T16:36:25.454" v="99"/>
        <pc:sldMkLst>
          <pc:docMk/>
          <pc:sldMk cId="2151083639" sldId="308"/>
        </pc:sldMkLst>
        <pc:spChg chg="mod">
          <ac:chgData name="Moris Montejo" userId="55e843e1-b95f-4cc0-a457-c4d5fafa72c5" providerId="ADAL" clId="{76F402D8-4071-45EB-BC1D-F7B5AFC85CE1}" dt="2023-05-04T16:33:38.608" v="41" actId="207"/>
          <ac:spMkLst>
            <pc:docMk/>
            <pc:sldMk cId="2151083639" sldId="308"/>
            <ac:spMk id="3" creationId="{00000000-0000-0000-0000-000000000000}"/>
          </ac:spMkLst>
        </pc:spChg>
        <pc:spChg chg="add mod">
          <ac:chgData name="Moris Montejo" userId="55e843e1-b95f-4cc0-a457-c4d5fafa72c5" providerId="ADAL" clId="{76F402D8-4071-45EB-BC1D-F7B5AFC85CE1}" dt="2023-05-04T16:36:25.454" v="99"/>
          <ac:spMkLst>
            <pc:docMk/>
            <pc:sldMk cId="2151083639" sldId="308"/>
            <ac:spMk id="5" creationId="{EAEDD1CF-2689-442F-0FAC-52889E2B52BB}"/>
          </ac:spMkLst>
        </pc:spChg>
      </pc:sldChg>
      <pc:sldChg chg="addSp modSp mod">
        <pc:chgData name="Moris Montejo" userId="55e843e1-b95f-4cc0-a457-c4d5fafa72c5" providerId="ADAL" clId="{76F402D8-4071-45EB-BC1D-F7B5AFC85CE1}" dt="2023-05-04T16:36:27.276" v="100"/>
        <pc:sldMkLst>
          <pc:docMk/>
          <pc:sldMk cId="2758667512" sldId="311"/>
        </pc:sldMkLst>
        <pc:spChg chg="mod">
          <ac:chgData name="Moris Montejo" userId="55e843e1-b95f-4cc0-a457-c4d5fafa72c5" providerId="ADAL" clId="{76F402D8-4071-45EB-BC1D-F7B5AFC85CE1}" dt="2023-05-04T16:33:43.812" v="42" actId="207"/>
          <ac:spMkLst>
            <pc:docMk/>
            <pc:sldMk cId="2758667512" sldId="311"/>
            <ac:spMk id="3" creationId="{00000000-0000-0000-0000-000000000000}"/>
          </ac:spMkLst>
        </pc:spChg>
        <pc:spChg chg="add mod">
          <ac:chgData name="Moris Montejo" userId="55e843e1-b95f-4cc0-a457-c4d5fafa72c5" providerId="ADAL" clId="{76F402D8-4071-45EB-BC1D-F7B5AFC85CE1}" dt="2023-05-04T16:36:27.276" v="100"/>
          <ac:spMkLst>
            <pc:docMk/>
            <pc:sldMk cId="2758667512" sldId="311"/>
            <ac:spMk id="5" creationId="{9CE952BF-C91A-EF46-032E-641223291D9F}"/>
          </ac:spMkLst>
        </pc:spChg>
      </pc:sldChg>
      <pc:sldChg chg="addSp modSp mod">
        <pc:chgData name="Moris Montejo" userId="55e843e1-b95f-4cc0-a457-c4d5fafa72c5" providerId="ADAL" clId="{76F402D8-4071-45EB-BC1D-F7B5AFC85CE1}" dt="2023-05-04T16:36:28.378" v="101"/>
        <pc:sldMkLst>
          <pc:docMk/>
          <pc:sldMk cId="233397814" sldId="312"/>
        </pc:sldMkLst>
        <pc:spChg chg="mod">
          <ac:chgData name="Moris Montejo" userId="55e843e1-b95f-4cc0-a457-c4d5fafa72c5" providerId="ADAL" clId="{76F402D8-4071-45EB-BC1D-F7B5AFC85CE1}" dt="2023-05-04T16:33:48.934" v="43" actId="207"/>
          <ac:spMkLst>
            <pc:docMk/>
            <pc:sldMk cId="233397814" sldId="312"/>
            <ac:spMk id="3" creationId="{00000000-0000-0000-0000-000000000000}"/>
          </ac:spMkLst>
        </pc:spChg>
        <pc:spChg chg="add mod">
          <ac:chgData name="Moris Montejo" userId="55e843e1-b95f-4cc0-a457-c4d5fafa72c5" providerId="ADAL" clId="{76F402D8-4071-45EB-BC1D-F7B5AFC85CE1}" dt="2023-05-04T16:36:28.378" v="101"/>
          <ac:spMkLst>
            <pc:docMk/>
            <pc:sldMk cId="233397814" sldId="312"/>
            <ac:spMk id="6" creationId="{E33BFED7-A22E-373D-5B76-490F6BAE7316}"/>
          </ac:spMkLst>
        </pc:spChg>
      </pc:sldChg>
      <pc:sldChg chg="addSp modSp mod">
        <pc:chgData name="Moris Montejo" userId="55e843e1-b95f-4cc0-a457-c4d5fafa72c5" providerId="ADAL" clId="{76F402D8-4071-45EB-BC1D-F7B5AFC85CE1}" dt="2023-05-04T16:36:29.465" v="102"/>
        <pc:sldMkLst>
          <pc:docMk/>
          <pc:sldMk cId="1951981370" sldId="313"/>
        </pc:sldMkLst>
        <pc:spChg chg="mod">
          <ac:chgData name="Moris Montejo" userId="55e843e1-b95f-4cc0-a457-c4d5fafa72c5" providerId="ADAL" clId="{76F402D8-4071-45EB-BC1D-F7B5AFC85CE1}" dt="2023-05-04T16:33:52.013" v="44" actId="207"/>
          <ac:spMkLst>
            <pc:docMk/>
            <pc:sldMk cId="1951981370" sldId="313"/>
            <ac:spMk id="3" creationId="{00000000-0000-0000-0000-000000000000}"/>
          </ac:spMkLst>
        </pc:spChg>
        <pc:spChg chg="add mod">
          <ac:chgData name="Moris Montejo" userId="55e843e1-b95f-4cc0-a457-c4d5fafa72c5" providerId="ADAL" clId="{76F402D8-4071-45EB-BC1D-F7B5AFC85CE1}" dt="2023-05-04T16:36:29.465" v="102"/>
          <ac:spMkLst>
            <pc:docMk/>
            <pc:sldMk cId="1951981370" sldId="313"/>
            <ac:spMk id="5" creationId="{721D9993-A6B9-42CC-590E-ECFDDF0C9688}"/>
          </ac:spMkLst>
        </pc:spChg>
      </pc:sldChg>
      <pc:sldChg chg="addSp modSp mod">
        <pc:chgData name="Moris Montejo" userId="55e843e1-b95f-4cc0-a457-c4d5fafa72c5" providerId="ADAL" clId="{76F402D8-4071-45EB-BC1D-F7B5AFC85CE1}" dt="2023-05-04T16:36:30.541" v="103"/>
        <pc:sldMkLst>
          <pc:docMk/>
          <pc:sldMk cId="1945749940" sldId="314"/>
        </pc:sldMkLst>
        <pc:spChg chg="mod">
          <ac:chgData name="Moris Montejo" userId="55e843e1-b95f-4cc0-a457-c4d5fafa72c5" providerId="ADAL" clId="{76F402D8-4071-45EB-BC1D-F7B5AFC85CE1}" dt="2023-05-04T16:33:55.226" v="45" actId="207"/>
          <ac:spMkLst>
            <pc:docMk/>
            <pc:sldMk cId="1945749940" sldId="314"/>
            <ac:spMk id="3" creationId="{00000000-0000-0000-0000-000000000000}"/>
          </ac:spMkLst>
        </pc:spChg>
        <pc:spChg chg="add mod">
          <ac:chgData name="Moris Montejo" userId="55e843e1-b95f-4cc0-a457-c4d5fafa72c5" providerId="ADAL" clId="{76F402D8-4071-45EB-BC1D-F7B5AFC85CE1}" dt="2023-05-04T16:36:30.541" v="103"/>
          <ac:spMkLst>
            <pc:docMk/>
            <pc:sldMk cId="1945749940" sldId="314"/>
            <ac:spMk id="5" creationId="{BEEFE49B-D632-6227-D3D0-5C197970F91A}"/>
          </ac:spMkLst>
        </pc:spChg>
      </pc:sldChg>
      <pc:sldChg chg="addSp modSp mod">
        <pc:chgData name="Moris Montejo" userId="55e843e1-b95f-4cc0-a457-c4d5fafa72c5" providerId="ADAL" clId="{76F402D8-4071-45EB-BC1D-F7B5AFC85CE1}" dt="2023-05-04T16:36:31.961" v="104"/>
        <pc:sldMkLst>
          <pc:docMk/>
          <pc:sldMk cId="4085350765" sldId="315"/>
        </pc:sldMkLst>
        <pc:spChg chg="add mod">
          <ac:chgData name="Moris Montejo" userId="55e843e1-b95f-4cc0-a457-c4d5fafa72c5" providerId="ADAL" clId="{76F402D8-4071-45EB-BC1D-F7B5AFC85CE1}" dt="2023-05-04T16:36:31.961" v="104"/>
          <ac:spMkLst>
            <pc:docMk/>
            <pc:sldMk cId="4085350765" sldId="315"/>
            <ac:spMk id="2" creationId="{72DBED7A-FC6F-155B-DA44-2D997E549CBA}"/>
          </ac:spMkLst>
        </pc:spChg>
        <pc:spChg chg="mod">
          <ac:chgData name="Moris Montejo" userId="55e843e1-b95f-4cc0-a457-c4d5fafa72c5" providerId="ADAL" clId="{76F402D8-4071-45EB-BC1D-F7B5AFC85CE1}" dt="2023-05-04T16:33:59.109" v="46" actId="207"/>
          <ac:spMkLst>
            <pc:docMk/>
            <pc:sldMk cId="4085350765" sldId="315"/>
            <ac:spMk id="3" creationId="{00000000-0000-0000-0000-000000000000}"/>
          </ac:spMkLst>
        </pc:spChg>
      </pc:sldChg>
      <pc:sldChg chg="addSp modSp mod">
        <pc:chgData name="Moris Montejo" userId="55e843e1-b95f-4cc0-a457-c4d5fafa72c5" providerId="ADAL" clId="{76F402D8-4071-45EB-BC1D-F7B5AFC85CE1}" dt="2023-05-04T16:36:34.683" v="105"/>
        <pc:sldMkLst>
          <pc:docMk/>
          <pc:sldMk cId="2667324473" sldId="316"/>
        </pc:sldMkLst>
        <pc:spChg chg="mod">
          <ac:chgData name="Moris Montejo" userId="55e843e1-b95f-4cc0-a457-c4d5fafa72c5" providerId="ADAL" clId="{76F402D8-4071-45EB-BC1D-F7B5AFC85CE1}" dt="2023-05-04T16:34:04.349" v="47" actId="207"/>
          <ac:spMkLst>
            <pc:docMk/>
            <pc:sldMk cId="2667324473" sldId="316"/>
            <ac:spMk id="3" creationId="{00000000-0000-0000-0000-000000000000}"/>
          </ac:spMkLst>
        </pc:spChg>
        <pc:spChg chg="add mod">
          <ac:chgData name="Moris Montejo" userId="55e843e1-b95f-4cc0-a457-c4d5fafa72c5" providerId="ADAL" clId="{76F402D8-4071-45EB-BC1D-F7B5AFC85CE1}" dt="2023-05-04T16:36:34.683" v="105"/>
          <ac:spMkLst>
            <pc:docMk/>
            <pc:sldMk cId="2667324473" sldId="316"/>
            <ac:spMk id="5" creationId="{4FBE1636-7A58-3679-2AE1-FBAE0FB42DFF}"/>
          </ac:spMkLst>
        </pc:spChg>
      </pc:sldChg>
      <pc:sldChg chg="addSp modSp mod">
        <pc:chgData name="Moris Montejo" userId="55e843e1-b95f-4cc0-a457-c4d5fafa72c5" providerId="ADAL" clId="{76F402D8-4071-45EB-BC1D-F7B5AFC85CE1}" dt="2023-05-04T16:36:38.872" v="108"/>
        <pc:sldMkLst>
          <pc:docMk/>
          <pc:sldMk cId="4139698663" sldId="320"/>
        </pc:sldMkLst>
        <pc:spChg chg="mod">
          <ac:chgData name="Moris Montejo" userId="55e843e1-b95f-4cc0-a457-c4d5fafa72c5" providerId="ADAL" clId="{76F402D8-4071-45EB-BC1D-F7B5AFC85CE1}" dt="2023-05-04T16:34:15.872" v="50" actId="207"/>
          <ac:spMkLst>
            <pc:docMk/>
            <pc:sldMk cId="4139698663" sldId="320"/>
            <ac:spMk id="3" creationId="{00000000-0000-0000-0000-000000000000}"/>
          </ac:spMkLst>
        </pc:spChg>
        <pc:spChg chg="add mod">
          <ac:chgData name="Moris Montejo" userId="55e843e1-b95f-4cc0-a457-c4d5fafa72c5" providerId="ADAL" clId="{76F402D8-4071-45EB-BC1D-F7B5AFC85CE1}" dt="2023-05-04T16:36:38.872" v="108"/>
          <ac:spMkLst>
            <pc:docMk/>
            <pc:sldMk cId="4139698663" sldId="320"/>
            <ac:spMk id="9" creationId="{8835F811-BDE2-2A92-06C4-1A0C057C2DBB}"/>
          </ac:spMkLst>
        </pc:spChg>
      </pc:sldChg>
      <pc:sldChg chg="addSp modSp mod">
        <pc:chgData name="Moris Montejo" userId="55e843e1-b95f-4cc0-a457-c4d5fafa72c5" providerId="ADAL" clId="{76F402D8-4071-45EB-BC1D-F7B5AFC85CE1}" dt="2023-05-04T16:36:01.209" v="86"/>
        <pc:sldMkLst>
          <pc:docMk/>
          <pc:sldMk cId="3553586215" sldId="2076137911"/>
        </pc:sldMkLst>
        <pc:spChg chg="mod">
          <ac:chgData name="Moris Montejo" userId="55e843e1-b95f-4cc0-a457-c4d5fafa72c5" providerId="ADAL" clId="{76F402D8-4071-45EB-BC1D-F7B5AFC85CE1}" dt="2023-05-04T16:32:58.356" v="29" actId="207"/>
          <ac:spMkLst>
            <pc:docMk/>
            <pc:sldMk cId="3553586215" sldId="2076137911"/>
            <ac:spMk id="3" creationId="{00000000-0000-0000-0000-000000000000}"/>
          </ac:spMkLst>
        </pc:spChg>
        <pc:spChg chg="add mod">
          <ac:chgData name="Moris Montejo" userId="55e843e1-b95f-4cc0-a457-c4d5fafa72c5" providerId="ADAL" clId="{76F402D8-4071-45EB-BC1D-F7B5AFC85CE1}" dt="2023-05-04T16:36:01.209" v="86"/>
          <ac:spMkLst>
            <pc:docMk/>
            <pc:sldMk cId="3553586215" sldId="2076137911"/>
            <ac:spMk id="5" creationId="{2169AFAD-96F9-8FF1-0626-B1B23F2649D3}"/>
          </ac:spMkLst>
        </pc:spChg>
      </pc:sldChg>
      <pc:sldChg chg="addSp delSp modSp mod">
        <pc:chgData name="Moris Montejo" userId="55e843e1-b95f-4cc0-a457-c4d5fafa72c5" providerId="ADAL" clId="{76F402D8-4071-45EB-BC1D-F7B5AFC85CE1}" dt="2023-05-04T16:35:13.931" v="69" actId="1076"/>
        <pc:sldMkLst>
          <pc:docMk/>
          <pc:sldMk cId="1172305725" sldId="2123258573"/>
        </pc:sldMkLst>
        <pc:spChg chg="mod">
          <ac:chgData name="Moris Montejo" userId="55e843e1-b95f-4cc0-a457-c4d5fafa72c5" providerId="ADAL" clId="{76F402D8-4071-45EB-BC1D-F7B5AFC85CE1}" dt="2023-05-04T16:32:05.436" v="16" actId="207"/>
          <ac:spMkLst>
            <pc:docMk/>
            <pc:sldMk cId="1172305725" sldId="2123258573"/>
            <ac:spMk id="2" creationId="{DD1DE4EC-AA67-4752-B822-4DC7FFAA5822}"/>
          </ac:spMkLst>
        </pc:spChg>
        <pc:spChg chg="add del mod">
          <ac:chgData name="Moris Montejo" userId="55e843e1-b95f-4cc0-a457-c4d5fafa72c5" providerId="ADAL" clId="{76F402D8-4071-45EB-BC1D-F7B5AFC85CE1}" dt="2023-05-04T16:35:03.821" v="66" actId="478"/>
          <ac:spMkLst>
            <pc:docMk/>
            <pc:sldMk cId="1172305725" sldId="2123258573"/>
            <ac:spMk id="4" creationId="{114380AD-9F33-A741-EAFF-B390EDBFE2B4}"/>
          </ac:spMkLst>
        </pc:spChg>
        <pc:spChg chg="add mod">
          <ac:chgData name="Moris Montejo" userId="55e843e1-b95f-4cc0-a457-c4d5fafa72c5" providerId="ADAL" clId="{76F402D8-4071-45EB-BC1D-F7B5AFC85CE1}" dt="2023-05-04T16:35:13.931" v="69" actId="1076"/>
          <ac:spMkLst>
            <pc:docMk/>
            <pc:sldMk cId="1172305725" sldId="2123258573"/>
            <ac:spMk id="6" creationId="{63C16CAE-8D84-70D0-D28D-C5BF5E76B075}"/>
          </ac:spMkLst>
        </pc:spChg>
      </pc:sldChg>
      <pc:sldChg chg="modSp mod">
        <pc:chgData name="Moris Montejo" userId="55e843e1-b95f-4cc0-a457-c4d5fafa72c5" providerId="ADAL" clId="{76F402D8-4071-45EB-BC1D-F7B5AFC85CE1}" dt="2023-05-04T16:32:08.572" v="17" actId="207"/>
        <pc:sldMkLst>
          <pc:docMk/>
          <pc:sldMk cId="3600328159" sldId="2123258574"/>
        </pc:sldMkLst>
        <pc:spChg chg="mod">
          <ac:chgData name="Moris Montejo" userId="55e843e1-b95f-4cc0-a457-c4d5fafa72c5" providerId="ADAL" clId="{76F402D8-4071-45EB-BC1D-F7B5AFC85CE1}" dt="2023-05-04T16:32:08.572" v="17" actId="207"/>
          <ac:spMkLst>
            <pc:docMk/>
            <pc:sldMk cId="3600328159" sldId="2123258574"/>
            <ac:spMk id="2" creationId="{DD1DE4EC-AA67-4752-B822-4DC7FFAA5822}"/>
          </ac:spMkLst>
        </pc:spChg>
      </pc:sldChg>
      <pc:sldChg chg="addSp modSp mod">
        <pc:chgData name="Moris Montejo" userId="55e843e1-b95f-4cc0-a457-c4d5fafa72c5" providerId="ADAL" clId="{76F402D8-4071-45EB-BC1D-F7B5AFC85CE1}" dt="2023-05-04T16:36:36.304" v="106"/>
        <pc:sldMkLst>
          <pc:docMk/>
          <pc:sldMk cId="91185291" sldId="2123258575"/>
        </pc:sldMkLst>
        <pc:spChg chg="mod">
          <ac:chgData name="Moris Montejo" userId="55e843e1-b95f-4cc0-a457-c4d5fafa72c5" providerId="ADAL" clId="{76F402D8-4071-45EB-BC1D-F7B5AFC85CE1}" dt="2023-05-04T16:34:07.784" v="48" actId="207"/>
          <ac:spMkLst>
            <pc:docMk/>
            <pc:sldMk cId="91185291" sldId="2123258575"/>
            <ac:spMk id="3" creationId="{00000000-0000-0000-0000-000000000000}"/>
          </ac:spMkLst>
        </pc:spChg>
        <pc:spChg chg="add mod">
          <ac:chgData name="Moris Montejo" userId="55e843e1-b95f-4cc0-a457-c4d5fafa72c5" providerId="ADAL" clId="{76F402D8-4071-45EB-BC1D-F7B5AFC85CE1}" dt="2023-05-04T16:36:36.304" v="106"/>
          <ac:spMkLst>
            <pc:docMk/>
            <pc:sldMk cId="91185291" sldId="2123258575"/>
            <ac:spMk id="5" creationId="{0E014834-803E-BA92-385E-B84D1B9DB6E3}"/>
          </ac:spMkLst>
        </pc:spChg>
      </pc:sldChg>
      <pc:sldChg chg="addSp modSp mod">
        <pc:chgData name="Moris Montejo" userId="55e843e1-b95f-4cc0-a457-c4d5fafa72c5" providerId="ADAL" clId="{76F402D8-4071-45EB-BC1D-F7B5AFC85CE1}" dt="2023-05-04T16:36:37.367" v="107"/>
        <pc:sldMkLst>
          <pc:docMk/>
          <pc:sldMk cId="1484778796" sldId="2123258576"/>
        </pc:sldMkLst>
        <pc:spChg chg="mod">
          <ac:chgData name="Moris Montejo" userId="55e843e1-b95f-4cc0-a457-c4d5fafa72c5" providerId="ADAL" clId="{76F402D8-4071-45EB-BC1D-F7B5AFC85CE1}" dt="2023-05-04T16:34:12.182" v="49" actId="207"/>
          <ac:spMkLst>
            <pc:docMk/>
            <pc:sldMk cId="1484778796" sldId="2123258576"/>
            <ac:spMk id="3" creationId="{00000000-0000-0000-0000-000000000000}"/>
          </ac:spMkLst>
        </pc:spChg>
        <pc:spChg chg="add mod">
          <ac:chgData name="Moris Montejo" userId="55e843e1-b95f-4cc0-a457-c4d5fafa72c5" providerId="ADAL" clId="{76F402D8-4071-45EB-BC1D-F7B5AFC85CE1}" dt="2023-05-04T16:36:37.367" v="107"/>
          <ac:spMkLst>
            <pc:docMk/>
            <pc:sldMk cId="1484778796" sldId="2123258576"/>
            <ac:spMk id="5" creationId="{69FF3C8B-3512-0EE2-B20D-6696847DA4A1}"/>
          </ac:spMkLst>
        </pc:spChg>
      </pc:sldChg>
      <pc:sldChg chg="addSp modSp mod">
        <pc:chgData name="Moris Montejo" userId="55e843e1-b95f-4cc0-a457-c4d5fafa72c5" providerId="ADAL" clId="{76F402D8-4071-45EB-BC1D-F7B5AFC85CE1}" dt="2023-05-04T16:35:45.204" v="79"/>
        <pc:sldMkLst>
          <pc:docMk/>
          <pc:sldMk cId="3167219428" sldId="2123258578"/>
        </pc:sldMkLst>
        <pc:spChg chg="mod">
          <ac:chgData name="Moris Montejo" userId="55e843e1-b95f-4cc0-a457-c4d5fafa72c5" providerId="ADAL" clId="{76F402D8-4071-45EB-BC1D-F7B5AFC85CE1}" dt="2023-05-04T16:32:29.822" v="23" actId="207"/>
          <ac:spMkLst>
            <pc:docMk/>
            <pc:sldMk cId="3167219428" sldId="2123258578"/>
            <ac:spMk id="3" creationId="{00000000-0000-0000-0000-000000000000}"/>
          </ac:spMkLst>
        </pc:spChg>
        <pc:spChg chg="add mod">
          <ac:chgData name="Moris Montejo" userId="55e843e1-b95f-4cc0-a457-c4d5fafa72c5" providerId="ADAL" clId="{76F402D8-4071-45EB-BC1D-F7B5AFC85CE1}" dt="2023-05-04T16:35:45.204" v="79"/>
          <ac:spMkLst>
            <pc:docMk/>
            <pc:sldMk cId="3167219428" sldId="2123258578"/>
            <ac:spMk id="4" creationId="{EB94D7C1-6A0F-B3DD-E442-A496518094F5}"/>
          </ac:spMkLst>
        </pc:spChg>
        <pc:spChg chg="mod">
          <ac:chgData name="Moris Montejo" userId="55e843e1-b95f-4cc0-a457-c4d5fafa72c5" providerId="ADAL" clId="{76F402D8-4071-45EB-BC1D-F7B5AFC85CE1}" dt="2023-05-04T16:35:44.017" v="78" actId="1076"/>
          <ac:spMkLst>
            <pc:docMk/>
            <pc:sldMk cId="3167219428" sldId="2123258578"/>
            <ac:spMk id="5" creationId="{CB5DBEB3-A17C-9D10-9623-6B5202783C81}"/>
          </ac:spMkLst>
        </pc:spChg>
      </pc:sldChg>
      <pc:sldChg chg="modSp mod">
        <pc:chgData name="Moris Montejo" userId="55e843e1-b95f-4cc0-a457-c4d5fafa72c5" providerId="ADAL" clId="{76F402D8-4071-45EB-BC1D-F7B5AFC85CE1}" dt="2023-05-04T16:33:14.634" v="34" actId="207"/>
        <pc:sldMkLst>
          <pc:docMk/>
          <pc:sldMk cId="2889522625" sldId="2123258579"/>
        </pc:sldMkLst>
        <pc:spChg chg="mod">
          <ac:chgData name="Moris Montejo" userId="55e843e1-b95f-4cc0-a457-c4d5fafa72c5" providerId="ADAL" clId="{76F402D8-4071-45EB-BC1D-F7B5AFC85CE1}" dt="2023-05-04T16:33:14.634" v="34" actId="207"/>
          <ac:spMkLst>
            <pc:docMk/>
            <pc:sldMk cId="2889522625" sldId="2123258579"/>
            <ac:spMk id="3" creationId="{00000000-0000-0000-0000-000000000000}"/>
          </ac:spMkLst>
        </pc:spChg>
      </pc:sldChg>
      <pc:sldChg chg="addSp modSp mod">
        <pc:chgData name="Moris Montejo" userId="55e843e1-b95f-4cc0-a457-c4d5fafa72c5" providerId="ADAL" clId="{76F402D8-4071-45EB-BC1D-F7B5AFC85CE1}" dt="2023-05-04T16:35:54.903" v="83"/>
        <pc:sldMkLst>
          <pc:docMk/>
          <pc:sldMk cId="3357320843" sldId="2123258580"/>
        </pc:sldMkLst>
        <pc:spChg chg="mod">
          <ac:chgData name="Moris Montejo" userId="55e843e1-b95f-4cc0-a457-c4d5fafa72c5" providerId="ADAL" clId="{76F402D8-4071-45EB-BC1D-F7B5AFC85CE1}" dt="2023-05-04T16:32:47.297" v="26" actId="207"/>
          <ac:spMkLst>
            <pc:docMk/>
            <pc:sldMk cId="3357320843" sldId="2123258580"/>
            <ac:spMk id="3" creationId="{00000000-0000-0000-0000-000000000000}"/>
          </ac:spMkLst>
        </pc:spChg>
        <pc:spChg chg="add mod">
          <ac:chgData name="Moris Montejo" userId="55e843e1-b95f-4cc0-a457-c4d5fafa72c5" providerId="ADAL" clId="{76F402D8-4071-45EB-BC1D-F7B5AFC85CE1}" dt="2023-05-04T16:35:54.903" v="83"/>
          <ac:spMkLst>
            <pc:docMk/>
            <pc:sldMk cId="3357320843" sldId="2123258580"/>
            <ac:spMk id="5" creationId="{51E1E419-3250-671B-23E3-34BBE5861FA5}"/>
          </ac:spMkLst>
        </pc:spChg>
      </pc:sldChg>
      <pc:sldChg chg="modSp mod">
        <pc:chgData name="Moris Montejo" userId="55e843e1-b95f-4cc0-a457-c4d5fafa72c5" providerId="ADAL" clId="{76F402D8-4071-45EB-BC1D-F7B5AFC85CE1}" dt="2023-05-05T04:49:40.048" v="115" actId="20577"/>
        <pc:sldMkLst>
          <pc:docMk/>
          <pc:sldMk cId="641711193" sldId="2147469902"/>
        </pc:sldMkLst>
        <pc:graphicFrameChg chg="modGraphic">
          <ac:chgData name="Moris Montejo" userId="55e843e1-b95f-4cc0-a457-c4d5fafa72c5" providerId="ADAL" clId="{76F402D8-4071-45EB-BC1D-F7B5AFC85CE1}" dt="2023-05-05T04:49:40.048" v="115" actId="20577"/>
          <ac:graphicFrameMkLst>
            <pc:docMk/>
            <pc:sldMk cId="641711193" sldId="2147469902"/>
            <ac:graphicFrameMk id="41" creationId="{2F2EA0C9-C38D-4F1A-8551-0B45DED4B9B8}"/>
          </ac:graphicFrameMkLst>
        </pc:graphicFrameChg>
      </pc:sldChg>
      <pc:sldChg chg="delSp mod">
        <pc:chgData name="Moris Montejo" userId="55e843e1-b95f-4cc0-a457-c4d5fafa72c5" providerId="ADAL" clId="{76F402D8-4071-45EB-BC1D-F7B5AFC85CE1}" dt="2023-05-05T04:49:45.541" v="116" actId="478"/>
        <pc:sldMkLst>
          <pc:docMk/>
          <pc:sldMk cId="587622894" sldId="2147469911"/>
        </pc:sldMkLst>
        <pc:spChg chg="del">
          <ac:chgData name="Moris Montejo" userId="55e843e1-b95f-4cc0-a457-c4d5fafa72c5" providerId="ADAL" clId="{76F402D8-4071-45EB-BC1D-F7B5AFC85CE1}" dt="2023-05-05T04:49:45.541" v="116" actId="478"/>
          <ac:spMkLst>
            <pc:docMk/>
            <pc:sldMk cId="587622894" sldId="2147469911"/>
            <ac:spMk id="2" creationId="{482FEA19-2650-4EE7-9268-C5AD0D758CBB}"/>
          </ac:spMkLst>
        </pc:spChg>
      </pc:sldChg>
      <pc:sldChg chg="delSp mod">
        <pc:chgData name="Moris Montejo" userId="55e843e1-b95f-4cc0-a457-c4d5fafa72c5" providerId="ADAL" clId="{76F402D8-4071-45EB-BC1D-F7B5AFC85CE1}" dt="2023-05-05T04:50:01.799" v="117" actId="478"/>
        <pc:sldMkLst>
          <pc:docMk/>
          <pc:sldMk cId="1085996625" sldId="2147469912"/>
        </pc:sldMkLst>
        <pc:spChg chg="del">
          <ac:chgData name="Moris Montejo" userId="55e843e1-b95f-4cc0-a457-c4d5fafa72c5" providerId="ADAL" clId="{76F402D8-4071-45EB-BC1D-F7B5AFC85CE1}" dt="2023-05-05T04:50:01.799" v="117" actId="478"/>
          <ac:spMkLst>
            <pc:docMk/>
            <pc:sldMk cId="1085996625" sldId="2147469912"/>
            <ac:spMk id="2" creationId="{482FEA19-2650-4EE7-9268-C5AD0D758CBB}"/>
          </ac:spMkLst>
        </pc:spChg>
      </pc:sldChg>
      <pc:sldChg chg="delSp mod">
        <pc:chgData name="Moris Montejo" userId="55e843e1-b95f-4cc0-a457-c4d5fafa72c5" providerId="ADAL" clId="{76F402D8-4071-45EB-BC1D-F7B5AFC85CE1}" dt="2023-05-05T04:50:24.294" v="118" actId="478"/>
        <pc:sldMkLst>
          <pc:docMk/>
          <pc:sldMk cId="1217924211" sldId="2147469913"/>
        </pc:sldMkLst>
        <pc:spChg chg="del">
          <ac:chgData name="Moris Montejo" userId="55e843e1-b95f-4cc0-a457-c4d5fafa72c5" providerId="ADAL" clId="{76F402D8-4071-45EB-BC1D-F7B5AFC85CE1}" dt="2023-05-05T04:50:24.294" v="118" actId="478"/>
          <ac:spMkLst>
            <pc:docMk/>
            <pc:sldMk cId="1217924211" sldId="2147469913"/>
            <ac:spMk id="2" creationId="{482FEA19-2650-4EE7-9268-C5AD0D758CBB}"/>
          </ac:spMkLst>
        </pc:spChg>
      </pc:sldChg>
      <pc:sldChg chg="modSp mod">
        <pc:chgData name="Moris Montejo" userId="55e843e1-b95f-4cc0-a457-c4d5fafa72c5" providerId="ADAL" clId="{76F402D8-4071-45EB-BC1D-F7B5AFC85CE1}" dt="2023-05-05T04:51:12.382" v="120" actId="207"/>
        <pc:sldMkLst>
          <pc:docMk/>
          <pc:sldMk cId="2694062714" sldId="2147469918"/>
        </pc:sldMkLst>
        <pc:spChg chg="mod">
          <ac:chgData name="Moris Montejo" userId="55e843e1-b95f-4cc0-a457-c4d5fafa72c5" providerId="ADAL" clId="{76F402D8-4071-45EB-BC1D-F7B5AFC85CE1}" dt="2023-05-05T04:51:12.382" v="120" actId="207"/>
          <ac:spMkLst>
            <pc:docMk/>
            <pc:sldMk cId="2694062714" sldId="2147469918"/>
            <ac:spMk id="2" creationId="{BC57B38C-8413-4861-A4F5-7DF656AEAD0D}"/>
          </ac:spMkLst>
        </pc:spChg>
      </pc:sldChg>
      <pc:sldChg chg="addSp modSp mod">
        <pc:chgData name="Moris Montejo" userId="55e843e1-b95f-4cc0-a457-c4d5fafa72c5" providerId="ADAL" clId="{76F402D8-4071-45EB-BC1D-F7B5AFC85CE1}" dt="2023-05-04T16:35:56.243" v="84"/>
        <pc:sldMkLst>
          <pc:docMk/>
          <pc:sldMk cId="3821480253" sldId="2147469919"/>
        </pc:sldMkLst>
        <pc:spChg chg="add mod">
          <ac:chgData name="Moris Montejo" userId="55e843e1-b95f-4cc0-a457-c4d5fafa72c5" providerId="ADAL" clId="{76F402D8-4071-45EB-BC1D-F7B5AFC85CE1}" dt="2023-05-04T16:35:56.243" v="84"/>
          <ac:spMkLst>
            <pc:docMk/>
            <pc:sldMk cId="3821480253" sldId="2147469919"/>
            <ac:spMk id="2" creationId="{442B6223-EB2D-5E34-338B-3980D33F932E}"/>
          </ac:spMkLst>
        </pc:spChg>
        <pc:spChg chg="mod">
          <ac:chgData name="Moris Montejo" userId="55e843e1-b95f-4cc0-a457-c4d5fafa72c5" providerId="ADAL" clId="{76F402D8-4071-45EB-BC1D-F7B5AFC85CE1}" dt="2023-05-04T16:32:50.686" v="27" actId="207"/>
          <ac:spMkLst>
            <pc:docMk/>
            <pc:sldMk cId="3821480253" sldId="2147469919"/>
            <ac:spMk id="3"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BDB5634-DF12-4481-B687-CCE1DB3C4149}" type="doc">
      <dgm:prSet loTypeId="urn:microsoft.com/office/officeart/2005/8/layout/pyramid2" loCatId="pyramid" qsTypeId="urn:microsoft.com/office/officeart/2005/8/quickstyle/simple1" qsCatId="simple" csTypeId="urn:microsoft.com/office/officeart/2005/8/colors/accent1_2" csCatId="accent1" phldr="1"/>
      <dgm:spPr/>
    </dgm:pt>
    <dgm:pt modelId="{09FF2AD7-36CF-4630-BB80-768902C0F45B}">
      <dgm:prSet phldrT="[Text]"/>
      <dgm:spPr>
        <a:ln>
          <a:solidFill>
            <a:schemeClr val="accent3">
              <a:lumMod val="75000"/>
            </a:schemeClr>
          </a:solidFill>
        </a:ln>
      </dgm:spPr>
      <dgm:t>
        <a:bodyPr/>
        <a:lstStyle/>
        <a:p>
          <a:r>
            <a:rPr lang="en-GB" err="1"/>
            <a:t>CoE</a:t>
          </a:r>
          <a:r>
            <a:rPr lang="en-GB"/>
            <a:t> Starter Kit</a:t>
          </a:r>
        </a:p>
      </dgm:t>
    </dgm:pt>
    <dgm:pt modelId="{E87CB6CF-FEF4-456A-AA99-1EBB786CF034}" type="parTrans" cxnId="{E17AD106-FE12-472E-82F2-9E1DC3F25C2D}">
      <dgm:prSet/>
      <dgm:spPr/>
      <dgm:t>
        <a:bodyPr/>
        <a:lstStyle/>
        <a:p>
          <a:endParaRPr lang="en-GB"/>
        </a:p>
      </dgm:t>
    </dgm:pt>
    <dgm:pt modelId="{1D1431BC-A06E-4564-B6D0-B5149DC83FF9}" type="sibTrans" cxnId="{E17AD106-FE12-472E-82F2-9E1DC3F25C2D}">
      <dgm:prSet/>
      <dgm:spPr/>
      <dgm:t>
        <a:bodyPr/>
        <a:lstStyle/>
        <a:p>
          <a:endParaRPr lang="en-GB"/>
        </a:p>
      </dgm:t>
    </dgm:pt>
    <dgm:pt modelId="{89E7C656-BF00-4AD3-86E8-2C8F7A80B499}">
      <dgm:prSet phldrT="[Text]"/>
      <dgm:spPr>
        <a:ln>
          <a:solidFill>
            <a:schemeClr val="accent3">
              <a:lumMod val="75000"/>
            </a:schemeClr>
          </a:solidFill>
        </a:ln>
      </dgm:spPr>
      <dgm:t>
        <a:bodyPr/>
        <a:lstStyle/>
        <a:p>
          <a:r>
            <a:rPr lang="en-GB"/>
            <a:t>Managed Environments</a:t>
          </a:r>
        </a:p>
      </dgm:t>
    </dgm:pt>
    <dgm:pt modelId="{1D72DF8C-554A-44F9-ACCE-939FA492378C}" type="parTrans" cxnId="{B120CBA8-F54C-4644-BF28-5B397B4B0FCB}">
      <dgm:prSet/>
      <dgm:spPr/>
      <dgm:t>
        <a:bodyPr/>
        <a:lstStyle/>
        <a:p>
          <a:endParaRPr lang="en-GB"/>
        </a:p>
      </dgm:t>
    </dgm:pt>
    <dgm:pt modelId="{6BF1EE8B-7493-4655-BE10-F537291D6622}" type="sibTrans" cxnId="{B120CBA8-F54C-4644-BF28-5B397B4B0FCB}">
      <dgm:prSet/>
      <dgm:spPr/>
      <dgm:t>
        <a:bodyPr/>
        <a:lstStyle/>
        <a:p>
          <a:endParaRPr lang="en-GB"/>
        </a:p>
      </dgm:t>
    </dgm:pt>
    <dgm:pt modelId="{D5370185-1AC1-4D5B-9C77-0EAB4930D68F}">
      <dgm:prSet phldrT="[Text]"/>
      <dgm:spPr>
        <a:ln>
          <a:solidFill>
            <a:schemeClr val="accent3">
              <a:lumMod val="75000"/>
            </a:schemeClr>
          </a:solidFill>
        </a:ln>
      </dgm:spPr>
      <dgm:t>
        <a:bodyPr/>
        <a:lstStyle/>
        <a:p>
          <a:r>
            <a:rPr lang="en-GB" dirty="0"/>
            <a:t>Power Platform Admin Center</a:t>
          </a:r>
        </a:p>
      </dgm:t>
    </dgm:pt>
    <dgm:pt modelId="{F33CDBA5-0FBE-4228-BB42-39A2C4A1C13F}" type="parTrans" cxnId="{5CA77DC8-B21C-44B1-9324-71FDFFC98D23}">
      <dgm:prSet/>
      <dgm:spPr/>
      <dgm:t>
        <a:bodyPr/>
        <a:lstStyle/>
        <a:p>
          <a:endParaRPr lang="en-GB"/>
        </a:p>
      </dgm:t>
    </dgm:pt>
    <dgm:pt modelId="{4CD28C2B-12B7-4C71-AF77-AFF84B6D5D65}" type="sibTrans" cxnId="{5CA77DC8-B21C-44B1-9324-71FDFFC98D23}">
      <dgm:prSet/>
      <dgm:spPr/>
      <dgm:t>
        <a:bodyPr/>
        <a:lstStyle/>
        <a:p>
          <a:endParaRPr lang="en-GB"/>
        </a:p>
      </dgm:t>
    </dgm:pt>
    <dgm:pt modelId="{8315C27E-059A-4CD1-8CAB-4E66E3947090}">
      <dgm:prSet phldrT="[Text]"/>
      <dgm:spPr>
        <a:ln>
          <a:solidFill>
            <a:schemeClr val="accent3">
              <a:lumMod val="75000"/>
            </a:schemeClr>
          </a:solidFill>
        </a:ln>
      </dgm:spPr>
      <dgm:t>
        <a:bodyPr/>
        <a:lstStyle/>
        <a:p>
          <a:r>
            <a:rPr lang="en-GB"/>
            <a:t>Custom tooling</a:t>
          </a:r>
        </a:p>
      </dgm:t>
    </dgm:pt>
    <dgm:pt modelId="{33683BA4-1EC5-42F0-A497-F7F120DA8C9D}" type="parTrans" cxnId="{768F1ADD-F7BA-40FE-B826-91D073F6D493}">
      <dgm:prSet/>
      <dgm:spPr/>
      <dgm:t>
        <a:bodyPr/>
        <a:lstStyle/>
        <a:p>
          <a:endParaRPr lang="en-GB"/>
        </a:p>
      </dgm:t>
    </dgm:pt>
    <dgm:pt modelId="{BF8023D8-74AE-422C-878C-149640E99F82}" type="sibTrans" cxnId="{768F1ADD-F7BA-40FE-B826-91D073F6D493}">
      <dgm:prSet/>
      <dgm:spPr/>
      <dgm:t>
        <a:bodyPr/>
        <a:lstStyle/>
        <a:p>
          <a:endParaRPr lang="en-GB"/>
        </a:p>
      </dgm:t>
    </dgm:pt>
    <dgm:pt modelId="{F1CFF59F-CE18-4CD7-B709-4DA1EF12D5CC}" type="pres">
      <dgm:prSet presAssocID="{9BDB5634-DF12-4481-B687-CCE1DB3C4149}" presName="compositeShape" presStyleCnt="0">
        <dgm:presLayoutVars>
          <dgm:dir/>
          <dgm:resizeHandles/>
        </dgm:presLayoutVars>
      </dgm:prSet>
      <dgm:spPr/>
    </dgm:pt>
    <dgm:pt modelId="{43639679-680A-46A2-8010-F5AECBE566A9}" type="pres">
      <dgm:prSet presAssocID="{9BDB5634-DF12-4481-B687-CCE1DB3C4149}" presName="pyramid" presStyleLbl="node1" presStyleIdx="0" presStyleCnt="1"/>
      <dgm:spPr>
        <a:solidFill>
          <a:schemeClr val="accent3">
            <a:lumMod val="75000"/>
          </a:schemeClr>
        </a:solidFill>
        <a:ln>
          <a:solidFill>
            <a:schemeClr val="accent3">
              <a:lumMod val="75000"/>
            </a:schemeClr>
          </a:solidFill>
        </a:ln>
      </dgm:spPr>
    </dgm:pt>
    <dgm:pt modelId="{E01C5DE2-CFAC-4EB1-BD53-0A67078FC9ED}" type="pres">
      <dgm:prSet presAssocID="{9BDB5634-DF12-4481-B687-CCE1DB3C4149}" presName="theList" presStyleCnt="0"/>
      <dgm:spPr/>
    </dgm:pt>
    <dgm:pt modelId="{3EA824D3-C098-46C2-BACD-3CE6D8F4A663}" type="pres">
      <dgm:prSet presAssocID="{8315C27E-059A-4CD1-8CAB-4E66E3947090}" presName="aNode" presStyleLbl="fgAcc1" presStyleIdx="0" presStyleCnt="4" custScaleX="108405" custScaleY="59794">
        <dgm:presLayoutVars>
          <dgm:bulletEnabled val="1"/>
        </dgm:presLayoutVars>
      </dgm:prSet>
      <dgm:spPr/>
    </dgm:pt>
    <dgm:pt modelId="{3E380717-FC2D-4F53-9441-5B22B2AE0863}" type="pres">
      <dgm:prSet presAssocID="{8315C27E-059A-4CD1-8CAB-4E66E3947090}" presName="aSpace" presStyleCnt="0"/>
      <dgm:spPr/>
    </dgm:pt>
    <dgm:pt modelId="{BF21377A-F53F-4262-8A39-891144BF5F44}" type="pres">
      <dgm:prSet presAssocID="{09FF2AD7-36CF-4630-BB80-768902C0F45B}" presName="aNode" presStyleLbl="fgAcc1" presStyleIdx="1" presStyleCnt="4" custScaleX="108405" custScaleY="59794">
        <dgm:presLayoutVars>
          <dgm:bulletEnabled val="1"/>
        </dgm:presLayoutVars>
      </dgm:prSet>
      <dgm:spPr/>
    </dgm:pt>
    <dgm:pt modelId="{ED93F7B8-E00F-4110-8D2C-5B501A3414CE}" type="pres">
      <dgm:prSet presAssocID="{09FF2AD7-36CF-4630-BB80-768902C0F45B}" presName="aSpace" presStyleCnt="0"/>
      <dgm:spPr/>
    </dgm:pt>
    <dgm:pt modelId="{EB5626E9-8268-410A-BEC1-0F735AC9EBF3}" type="pres">
      <dgm:prSet presAssocID="{89E7C656-BF00-4AD3-86E8-2C8F7A80B499}" presName="aNode" presStyleLbl="fgAcc1" presStyleIdx="2" presStyleCnt="4" custScaleX="108405" custScaleY="59794">
        <dgm:presLayoutVars>
          <dgm:bulletEnabled val="1"/>
        </dgm:presLayoutVars>
      </dgm:prSet>
      <dgm:spPr/>
    </dgm:pt>
    <dgm:pt modelId="{2074052E-06A7-4395-813B-D247A2995070}" type="pres">
      <dgm:prSet presAssocID="{89E7C656-BF00-4AD3-86E8-2C8F7A80B499}" presName="aSpace" presStyleCnt="0"/>
      <dgm:spPr/>
    </dgm:pt>
    <dgm:pt modelId="{48EBDE4C-D6CC-4532-878A-02EF9AD3EF28}" type="pres">
      <dgm:prSet presAssocID="{D5370185-1AC1-4D5B-9C77-0EAB4930D68F}" presName="aNode" presStyleLbl="fgAcc1" presStyleIdx="3" presStyleCnt="4" custScaleX="108405" custScaleY="59794">
        <dgm:presLayoutVars>
          <dgm:bulletEnabled val="1"/>
        </dgm:presLayoutVars>
      </dgm:prSet>
      <dgm:spPr/>
    </dgm:pt>
    <dgm:pt modelId="{9188B5BD-26AC-42DD-87D7-DB7320829892}" type="pres">
      <dgm:prSet presAssocID="{D5370185-1AC1-4D5B-9C77-0EAB4930D68F}" presName="aSpace" presStyleCnt="0"/>
      <dgm:spPr/>
    </dgm:pt>
  </dgm:ptLst>
  <dgm:cxnLst>
    <dgm:cxn modelId="{E17AD106-FE12-472E-82F2-9E1DC3F25C2D}" srcId="{9BDB5634-DF12-4481-B687-CCE1DB3C4149}" destId="{09FF2AD7-36CF-4630-BB80-768902C0F45B}" srcOrd="1" destOrd="0" parTransId="{E87CB6CF-FEF4-456A-AA99-1EBB786CF034}" sibTransId="{1D1431BC-A06E-4564-B6D0-B5149DC83FF9}"/>
    <dgm:cxn modelId="{CC901D39-4B81-4D8E-80BD-3CF747773016}" type="presOf" srcId="{9BDB5634-DF12-4481-B687-CCE1DB3C4149}" destId="{F1CFF59F-CE18-4CD7-B709-4DA1EF12D5CC}" srcOrd="0" destOrd="0" presId="urn:microsoft.com/office/officeart/2005/8/layout/pyramid2"/>
    <dgm:cxn modelId="{B8D4EA46-0756-4BAF-B924-7475423F2CD5}" type="presOf" srcId="{8315C27E-059A-4CD1-8CAB-4E66E3947090}" destId="{3EA824D3-C098-46C2-BACD-3CE6D8F4A663}" srcOrd="0" destOrd="0" presId="urn:microsoft.com/office/officeart/2005/8/layout/pyramid2"/>
    <dgm:cxn modelId="{8840AD74-CD91-4D69-AA19-BD9D1B38C5D3}" type="presOf" srcId="{89E7C656-BF00-4AD3-86E8-2C8F7A80B499}" destId="{EB5626E9-8268-410A-BEC1-0F735AC9EBF3}" srcOrd="0" destOrd="0" presId="urn:microsoft.com/office/officeart/2005/8/layout/pyramid2"/>
    <dgm:cxn modelId="{B120CBA8-F54C-4644-BF28-5B397B4B0FCB}" srcId="{9BDB5634-DF12-4481-B687-CCE1DB3C4149}" destId="{89E7C656-BF00-4AD3-86E8-2C8F7A80B499}" srcOrd="2" destOrd="0" parTransId="{1D72DF8C-554A-44F9-ACCE-939FA492378C}" sibTransId="{6BF1EE8B-7493-4655-BE10-F537291D6622}"/>
    <dgm:cxn modelId="{4B588BB2-45D5-4457-A5F1-336DDAD68B78}" type="presOf" srcId="{D5370185-1AC1-4D5B-9C77-0EAB4930D68F}" destId="{48EBDE4C-D6CC-4532-878A-02EF9AD3EF28}" srcOrd="0" destOrd="0" presId="urn:microsoft.com/office/officeart/2005/8/layout/pyramid2"/>
    <dgm:cxn modelId="{5CA77DC8-B21C-44B1-9324-71FDFFC98D23}" srcId="{9BDB5634-DF12-4481-B687-CCE1DB3C4149}" destId="{D5370185-1AC1-4D5B-9C77-0EAB4930D68F}" srcOrd="3" destOrd="0" parTransId="{F33CDBA5-0FBE-4228-BB42-39A2C4A1C13F}" sibTransId="{4CD28C2B-12B7-4C71-AF77-AFF84B6D5D65}"/>
    <dgm:cxn modelId="{768F1ADD-F7BA-40FE-B826-91D073F6D493}" srcId="{9BDB5634-DF12-4481-B687-CCE1DB3C4149}" destId="{8315C27E-059A-4CD1-8CAB-4E66E3947090}" srcOrd="0" destOrd="0" parTransId="{33683BA4-1EC5-42F0-A497-F7F120DA8C9D}" sibTransId="{BF8023D8-74AE-422C-878C-149640E99F82}"/>
    <dgm:cxn modelId="{E4E8B6DE-34B0-4F56-8ACB-32FEF2763FA7}" type="presOf" srcId="{09FF2AD7-36CF-4630-BB80-768902C0F45B}" destId="{BF21377A-F53F-4262-8A39-891144BF5F44}" srcOrd="0" destOrd="0" presId="urn:microsoft.com/office/officeart/2005/8/layout/pyramid2"/>
    <dgm:cxn modelId="{D8F8771F-186B-4BC9-95BB-994E0C86093E}" type="presParOf" srcId="{F1CFF59F-CE18-4CD7-B709-4DA1EF12D5CC}" destId="{43639679-680A-46A2-8010-F5AECBE566A9}" srcOrd="0" destOrd="0" presId="urn:microsoft.com/office/officeart/2005/8/layout/pyramid2"/>
    <dgm:cxn modelId="{5342E833-4DC2-4DEC-8870-8C8991665C81}" type="presParOf" srcId="{F1CFF59F-CE18-4CD7-B709-4DA1EF12D5CC}" destId="{E01C5DE2-CFAC-4EB1-BD53-0A67078FC9ED}" srcOrd="1" destOrd="0" presId="urn:microsoft.com/office/officeart/2005/8/layout/pyramid2"/>
    <dgm:cxn modelId="{DE87097B-5AA6-44B6-8345-454B21115AD8}" type="presParOf" srcId="{E01C5DE2-CFAC-4EB1-BD53-0A67078FC9ED}" destId="{3EA824D3-C098-46C2-BACD-3CE6D8F4A663}" srcOrd="0" destOrd="0" presId="urn:microsoft.com/office/officeart/2005/8/layout/pyramid2"/>
    <dgm:cxn modelId="{BB55328C-5FD6-47D6-93A3-822BBB633548}" type="presParOf" srcId="{E01C5DE2-CFAC-4EB1-BD53-0A67078FC9ED}" destId="{3E380717-FC2D-4F53-9441-5B22B2AE0863}" srcOrd="1" destOrd="0" presId="urn:microsoft.com/office/officeart/2005/8/layout/pyramid2"/>
    <dgm:cxn modelId="{C338C482-D670-4067-B6C7-0F9562C572AD}" type="presParOf" srcId="{E01C5DE2-CFAC-4EB1-BD53-0A67078FC9ED}" destId="{BF21377A-F53F-4262-8A39-891144BF5F44}" srcOrd="2" destOrd="0" presId="urn:microsoft.com/office/officeart/2005/8/layout/pyramid2"/>
    <dgm:cxn modelId="{F8B961A9-30A8-4915-85C2-1D951AF34820}" type="presParOf" srcId="{E01C5DE2-CFAC-4EB1-BD53-0A67078FC9ED}" destId="{ED93F7B8-E00F-4110-8D2C-5B501A3414CE}" srcOrd="3" destOrd="0" presId="urn:microsoft.com/office/officeart/2005/8/layout/pyramid2"/>
    <dgm:cxn modelId="{D318DC81-4D9D-469F-922F-DC14A6CB46D5}" type="presParOf" srcId="{E01C5DE2-CFAC-4EB1-BD53-0A67078FC9ED}" destId="{EB5626E9-8268-410A-BEC1-0F735AC9EBF3}" srcOrd="4" destOrd="0" presId="urn:microsoft.com/office/officeart/2005/8/layout/pyramid2"/>
    <dgm:cxn modelId="{6CA5B77A-B719-492B-B471-C6A8066C24C9}" type="presParOf" srcId="{E01C5DE2-CFAC-4EB1-BD53-0A67078FC9ED}" destId="{2074052E-06A7-4395-813B-D247A2995070}" srcOrd="5" destOrd="0" presId="urn:microsoft.com/office/officeart/2005/8/layout/pyramid2"/>
    <dgm:cxn modelId="{1C928D01-D9F5-4F1D-BB06-74EF4F2AFB9D}" type="presParOf" srcId="{E01C5DE2-CFAC-4EB1-BD53-0A67078FC9ED}" destId="{48EBDE4C-D6CC-4532-878A-02EF9AD3EF28}" srcOrd="6" destOrd="0" presId="urn:microsoft.com/office/officeart/2005/8/layout/pyramid2"/>
    <dgm:cxn modelId="{1BAECCB3-2F9F-4580-81AD-F59D21D34499}" type="presParOf" srcId="{E01C5DE2-CFAC-4EB1-BD53-0A67078FC9ED}" destId="{9188B5BD-26AC-42DD-87D7-DB7320829892}"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639679-680A-46A2-8010-F5AECBE566A9}">
      <dsp:nvSpPr>
        <dsp:cNvPr id="0" name=""/>
        <dsp:cNvSpPr/>
      </dsp:nvSpPr>
      <dsp:spPr>
        <a:xfrm>
          <a:off x="352822" y="0"/>
          <a:ext cx="5024587" cy="5024587"/>
        </a:xfrm>
        <a:prstGeom prst="triangle">
          <a:avLst/>
        </a:prstGeom>
        <a:solidFill>
          <a:schemeClr val="accent3">
            <a:lumMod val="75000"/>
          </a:schemeClr>
        </a:solidFill>
        <a:ln w="12700" cap="flat" cmpd="sng" algn="ctr">
          <a:solidFill>
            <a:schemeClr val="accent3">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EA824D3-C098-46C2-BACD-3CE6D8F4A663}">
      <dsp:nvSpPr>
        <dsp:cNvPr id="0" name=""/>
        <dsp:cNvSpPr/>
      </dsp:nvSpPr>
      <dsp:spPr>
        <a:xfrm>
          <a:off x="2727862" y="503080"/>
          <a:ext cx="3540487" cy="830904"/>
        </a:xfrm>
        <a:prstGeom prst="roundRect">
          <a:avLst/>
        </a:prstGeom>
        <a:solidFill>
          <a:schemeClr val="lt1">
            <a:alpha val="90000"/>
            <a:hueOff val="0"/>
            <a:satOff val="0"/>
            <a:lumOff val="0"/>
            <a:alphaOff val="0"/>
          </a:schemeClr>
        </a:solidFill>
        <a:ln w="12700" cap="flat" cmpd="sng" algn="ctr">
          <a:solidFill>
            <a:schemeClr val="accent3">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GB" sz="1900" kern="1200"/>
            <a:t>Custom tooling</a:t>
          </a:r>
        </a:p>
      </dsp:txBody>
      <dsp:txXfrm>
        <a:off x="2768423" y="543641"/>
        <a:ext cx="3459365" cy="749782"/>
      </dsp:txXfrm>
    </dsp:sp>
    <dsp:sp modelId="{BF21377A-F53F-4262-8A39-891144BF5F44}">
      <dsp:nvSpPr>
        <dsp:cNvPr id="0" name=""/>
        <dsp:cNvSpPr/>
      </dsp:nvSpPr>
      <dsp:spPr>
        <a:xfrm>
          <a:off x="2727862" y="1507687"/>
          <a:ext cx="3540487" cy="830904"/>
        </a:xfrm>
        <a:prstGeom prst="roundRect">
          <a:avLst/>
        </a:prstGeom>
        <a:solidFill>
          <a:schemeClr val="lt1">
            <a:alpha val="90000"/>
            <a:hueOff val="0"/>
            <a:satOff val="0"/>
            <a:lumOff val="0"/>
            <a:alphaOff val="0"/>
          </a:schemeClr>
        </a:solidFill>
        <a:ln w="12700" cap="flat" cmpd="sng" algn="ctr">
          <a:solidFill>
            <a:schemeClr val="accent3">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GB" sz="1900" kern="1200" err="1"/>
            <a:t>CoE</a:t>
          </a:r>
          <a:r>
            <a:rPr lang="en-GB" sz="1900" kern="1200"/>
            <a:t> Starter Kit</a:t>
          </a:r>
        </a:p>
      </dsp:txBody>
      <dsp:txXfrm>
        <a:off x="2768423" y="1548248"/>
        <a:ext cx="3459365" cy="749782"/>
      </dsp:txXfrm>
    </dsp:sp>
    <dsp:sp modelId="{EB5626E9-8268-410A-BEC1-0F735AC9EBF3}">
      <dsp:nvSpPr>
        <dsp:cNvPr id="0" name=""/>
        <dsp:cNvSpPr/>
      </dsp:nvSpPr>
      <dsp:spPr>
        <a:xfrm>
          <a:off x="2727862" y="2512293"/>
          <a:ext cx="3540487" cy="830904"/>
        </a:xfrm>
        <a:prstGeom prst="roundRect">
          <a:avLst/>
        </a:prstGeom>
        <a:solidFill>
          <a:schemeClr val="lt1">
            <a:alpha val="90000"/>
            <a:hueOff val="0"/>
            <a:satOff val="0"/>
            <a:lumOff val="0"/>
            <a:alphaOff val="0"/>
          </a:schemeClr>
        </a:solidFill>
        <a:ln w="12700" cap="flat" cmpd="sng" algn="ctr">
          <a:solidFill>
            <a:schemeClr val="accent3">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GB" sz="1900" kern="1200"/>
            <a:t>Managed Environments</a:t>
          </a:r>
        </a:p>
      </dsp:txBody>
      <dsp:txXfrm>
        <a:off x="2768423" y="2552854"/>
        <a:ext cx="3459365" cy="749782"/>
      </dsp:txXfrm>
    </dsp:sp>
    <dsp:sp modelId="{48EBDE4C-D6CC-4532-878A-02EF9AD3EF28}">
      <dsp:nvSpPr>
        <dsp:cNvPr id="0" name=""/>
        <dsp:cNvSpPr/>
      </dsp:nvSpPr>
      <dsp:spPr>
        <a:xfrm>
          <a:off x="2727862" y="3516899"/>
          <a:ext cx="3540487" cy="830904"/>
        </a:xfrm>
        <a:prstGeom prst="roundRect">
          <a:avLst/>
        </a:prstGeom>
        <a:solidFill>
          <a:schemeClr val="lt1">
            <a:alpha val="90000"/>
            <a:hueOff val="0"/>
            <a:satOff val="0"/>
            <a:lumOff val="0"/>
            <a:alphaOff val="0"/>
          </a:schemeClr>
        </a:solidFill>
        <a:ln w="12700" cap="flat" cmpd="sng" algn="ctr">
          <a:solidFill>
            <a:schemeClr val="accent3">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GB" sz="1900" kern="1200" dirty="0"/>
            <a:t>Power Platform Admin Center</a:t>
          </a:r>
        </a:p>
      </dsp:txBody>
      <dsp:txXfrm>
        <a:off x="2768423" y="3557460"/>
        <a:ext cx="3459365" cy="749782"/>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4/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fld id="{93F0BA74-B6B0-4726-B93D-848B68F9209C}" type="datetime1">
              <a:rPr lang="en-US"/>
              <a:t>4/25/2024</a:t>
            </a:fld>
            <a:endParaRPr lang="en-US"/>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r>
              <a:rPr lang="en-US" dirty="0"/>
              <a:t>Workshop Version: 2.6</a:t>
            </a:r>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90206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1915212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25/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695619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1889617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Once you have established your desired processes, looking at opportunities for automation will be key to allow your CoE team to scale. We have made the CoE Starter Kit available as a representation of what we’ve learned from some of the largest organizations implementing Power Platform. It’s a collection of templates and components that </a:t>
            </a:r>
            <a:r>
              <a:rPr kumimoji="0" lang="en-US" sz="1200" b="0" i="0" u="none" strike="noStrike" kern="1200" cap="none" spc="-49" normalizeH="0" baseline="0" noProof="0" dirty="0">
                <a:ln>
                  <a:noFill/>
                </a:ln>
                <a:solidFill>
                  <a:srgbClr val="3C3C41"/>
                </a:solidFill>
                <a:effectLst/>
                <a:uLnTx/>
                <a:uFillTx/>
                <a:latin typeface="Segoe UI"/>
                <a:ea typeface="+mn-ea"/>
                <a:cs typeface="+mn-cs"/>
              </a:rPr>
              <a:t>designed to help you get started with developing a strategy for adopting and supporting the Power Platform, based on what we’ve seen successful customers do. </a:t>
            </a:r>
            <a:r>
              <a:rPr lang="en-GB" b="0" i="0" dirty="0">
                <a:solidFill>
                  <a:srgbClr val="171717"/>
                </a:solidFill>
                <a:effectLst/>
                <a:latin typeface="Segoe UI" panose="020B0502040204020203" pitchFamily="34" charset="0"/>
              </a:rPr>
              <a:t> However, installing is not a checkbox exercise.  This tool, built in Power Platform, is intended to be just that: a starter kit for technology to enable </a:t>
            </a:r>
            <a:r>
              <a:rPr lang="en-GB" b="0" i="1" dirty="0">
                <a:solidFill>
                  <a:srgbClr val="171717"/>
                </a:solidFill>
                <a:effectLst/>
                <a:latin typeface="Segoe UI" panose="020B0502040204020203" pitchFamily="34" charset="0"/>
              </a:rPr>
              <a:t>your </a:t>
            </a:r>
            <a:r>
              <a:rPr lang="en-GB" b="0" i="0" dirty="0">
                <a:solidFill>
                  <a:srgbClr val="171717"/>
                </a:solidFill>
                <a:effectLst/>
                <a:latin typeface="Segoe UI" panose="020B0502040204020203" pitchFamily="34" charset="0"/>
              </a:rPr>
              <a:t>processes. </a:t>
            </a:r>
            <a:r>
              <a:rPr lang="en-GB" dirty="0"/>
              <a:t>It can help with the how, once you’ve established the what and wh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r>
              <a:rPr lang="en-GB" b="0" i="0" dirty="0">
                <a:solidFill>
                  <a:srgbClr val="171717"/>
                </a:solidFill>
                <a:effectLst/>
                <a:latin typeface="Segoe UI" panose="020B0502040204020203" pitchFamily="34" charset="0"/>
              </a:rPr>
              <a:t>Some of the data and foundation you’ll likely need is in here, but your organization will undoubtedly want to tailor this for its own use.  In many ways, to harness the true power of the kit you will adapt it to your own use cases and tailor it to your processes. </a:t>
            </a:r>
          </a:p>
          <a:p>
            <a:endParaRPr lang="en-GB"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5/2024 5: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71079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900" b="1" dirty="0"/>
              <a:t>Start with the out of the box </a:t>
            </a:r>
            <a:r>
              <a:rPr lang="en-GB" sz="900" dirty="0"/>
              <a:t>capabilities in Power Platform admin </a:t>
            </a:r>
            <a:r>
              <a:rPr lang="en-GB" sz="900" dirty="0" err="1"/>
              <a:t>center</a:t>
            </a:r>
            <a:r>
              <a:rPr lang="en-GB" sz="900" dirty="0"/>
              <a:t> and Managed Environments. </a:t>
            </a:r>
          </a:p>
          <a:p>
            <a:pPr marL="0" indent="0">
              <a:buNone/>
            </a:pPr>
            <a:r>
              <a:rPr lang="en-GB" sz="900" dirty="0"/>
              <a:t>Those capabilities are robust in the product and fully supported. </a:t>
            </a:r>
          </a:p>
          <a:p>
            <a:pPr marL="0" indent="0">
              <a:buNone/>
            </a:pPr>
            <a:endParaRPr lang="en-GB" sz="900" dirty="0"/>
          </a:p>
          <a:p>
            <a:pPr marL="0" indent="0">
              <a:buNone/>
            </a:pPr>
            <a:r>
              <a:rPr lang="en-GB" sz="900" dirty="0"/>
              <a:t>And if you discover you need more capabilities to govern your tenant, see if features in the </a:t>
            </a:r>
            <a:r>
              <a:rPr lang="en-GB" sz="900" dirty="0" err="1"/>
              <a:t>CoE</a:t>
            </a:r>
            <a:r>
              <a:rPr lang="en-GB" sz="900" dirty="0"/>
              <a:t> Starter Kit can </a:t>
            </a:r>
            <a:r>
              <a:rPr lang="en-GB" sz="900" b="1" dirty="0"/>
              <a:t>complement</a:t>
            </a:r>
            <a:r>
              <a:rPr lang="en-GB" sz="900" dirty="0"/>
              <a:t> what you get out of the box.</a:t>
            </a:r>
          </a:p>
          <a:p>
            <a:pPr marL="0" indent="0">
              <a:buNone/>
            </a:pPr>
            <a:endParaRPr lang="en-GB" sz="900" dirty="0"/>
          </a:p>
          <a:p>
            <a:pPr marL="0" indent="0">
              <a:buNone/>
            </a:pPr>
            <a:r>
              <a:rPr lang="en-GB" sz="900" dirty="0"/>
              <a:t>If that still doesn’t meet your requirements, explore </a:t>
            </a:r>
            <a:r>
              <a:rPr lang="en-GB" sz="900" b="1" dirty="0"/>
              <a:t>extending and customizing </a:t>
            </a:r>
            <a:r>
              <a:rPr lang="en-GB" sz="900" dirty="0"/>
              <a:t>the </a:t>
            </a:r>
            <a:r>
              <a:rPr lang="en-GB" sz="900" dirty="0" err="1"/>
              <a:t>CoE</a:t>
            </a:r>
            <a:r>
              <a:rPr lang="en-GB" sz="900" dirty="0"/>
              <a:t> Starter Kit or building your own tooling from scratc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the end of this section, after we’ve introduced some </a:t>
            </a:r>
            <a:r>
              <a:rPr lang="en-GB" dirty="0" err="1"/>
              <a:t>CoE</a:t>
            </a:r>
            <a:r>
              <a:rPr lang="en-GB" dirty="0"/>
              <a:t> kit features, we’ll explore how they can be used together with PPAC/ME features.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5/2024 5: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98410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7900826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167250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2064238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4/25/2024</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0745602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5202748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b="0" i="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AB8F4BA8-E8DB-4922-B420-8E9642D0F659}" type="slidenum">
              <a:rPr lang="de-DE" smtClean="0"/>
              <a:t>22</a:t>
            </a:fld>
            <a:endParaRPr lang="de-DE"/>
          </a:p>
        </p:txBody>
      </p:sp>
    </p:spTree>
    <p:extLst>
      <p:ext uri="{BB962C8B-B14F-4D97-AF65-F5344CB8AC3E}">
        <p14:creationId xmlns:p14="http://schemas.microsoft.com/office/powerpoint/2010/main" val="19373341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b="0" i="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AB8F4BA8-E8DB-4922-B420-8E9642D0F659}" type="slidenum">
              <a:rPr lang="de-DE" smtClean="0"/>
              <a:t>23</a:t>
            </a:fld>
            <a:endParaRPr lang="de-DE"/>
          </a:p>
        </p:txBody>
      </p:sp>
    </p:spTree>
    <p:extLst>
      <p:ext uri="{BB962C8B-B14F-4D97-AF65-F5344CB8AC3E}">
        <p14:creationId xmlns:p14="http://schemas.microsoft.com/office/powerpoint/2010/main" val="21422620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3552362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6050032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2820807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2018806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5163890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989134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5/2024</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4602203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25/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699476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4637630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516105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5627418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6395566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9684463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912803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8062314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873699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25/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7956778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2416171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370200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6382895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5650326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709987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0387179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019392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9994447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919968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ower Platform is designed for ease of use for business or departmental users, the world’s growing citizen developer community, yet also offers the functionality required for experienced developers. Power Platform is also built to support the needs of modern IT teams and Admins, from automating mundane IT functions, to providing security, compliance, and control over the usage and execution of Power Platform services across the IT ecosystem.</a:t>
            </a:r>
          </a:p>
          <a:p>
            <a:endParaRPr kumimoji="0" lang="en-US" sz="900" b="0" i="0" u="none" strike="noStrike" kern="1200" cap="none" spc="0" normalizeH="0" baseline="0" noProof="0" dirty="0">
              <a:ln>
                <a:noFill/>
              </a:ln>
              <a:effectLst/>
              <a:uLnTx/>
              <a:uFillTx/>
              <a:latin typeface="Segoe UI"/>
              <a:ea typeface="+mn-ea"/>
              <a:cs typeface="+mn-cs"/>
            </a:endParaRPr>
          </a:p>
          <a:p>
            <a:r>
              <a:rPr kumimoji="0" lang="en-US" sz="1000" b="0" i="0" u="none" strike="noStrike" kern="1200" cap="none" spc="0" normalizeH="0" baseline="0" noProof="0" dirty="0">
                <a:ln>
                  <a:noFill/>
                </a:ln>
                <a:effectLst/>
                <a:uLnTx/>
                <a:uFillTx/>
                <a:latin typeface="Segoe UI"/>
                <a:ea typeface="+mn-ea"/>
                <a:cs typeface="+mn-cs"/>
              </a:rPr>
              <a:t>Our focus for the next several minutes will be how the Power Platform is designed to work with IT in this new world of end users and experienced developers. Let’s first map out the changes that IT will face.</a:t>
            </a:r>
          </a:p>
          <a:p>
            <a:pPr marL="116574" marR="0" lvl="0" indent="0" algn="l" defTabSz="932418" rtl="0" eaLnBrk="1" fontAlgn="auto" latinLnBrk="0" hangingPunct="1">
              <a:lnSpc>
                <a:spcPct val="100000"/>
              </a:lnSpc>
              <a:spcBef>
                <a:spcPts val="0"/>
              </a:spcBef>
              <a:spcAft>
                <a:spcPts val="306"/>
              </a:spcAft>
              <a:buClrTx/>
              <a:buSzTx/>
              <a:buFont typeface="Arial" panose="020B0604020202020204" pitchFamily="34" charset="0"/>
              <a:buNone/>
              <a:tabLst/>
              <a:defRPr/>
            </a:pPr>
            <a:endParaRPr kumimoji="0" lang="en-US" sz="800" b="0" i="0" u="none" strike="noStrike" kern="1200" cap="none" spc="0" normalizeH="0" baseline="0" noProof="0" dirty="0">
              <a:ln>
                <a:noFill/>
              </a:ln>
              <a:solidFill>
                <a:srgbClr val="FFFFFF"/>
              </a:solidFill>
              <a:effectLst/>
              <a:uLnTx/>
              <a:uFillTx/>
              <a:latin typeface="Segoe UI"/>
              <a:ea typeface="+mn-ea"/>
              <a:cs typeface="+mn-cs"/>
            </a:endParaRPr>
          </a:p>
          <a:p>
            <a:endParaRPr lang="en-IN" dirty="0"/>
          </a:p>
          <a:p>
            <a:endParaRPr lang="en-IN" dirty="0"/>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9561583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0475708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0770672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8540122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17298945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25/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03336535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5992045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9761624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2863022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9259075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9</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25/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008753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modern businesses to compete and progress with their digital transformation journey, more end users will become developers. In fact, Gartner predicts that by 2023, there will be four times as many end user or citizen developers compared to experienced developers in enterprises. </a:t>
            </a:r>
          </a:p>
          <a:p>
            <a:endParaRPr lang="en-US"/>
          </a:p>
          <a:p>
            <a:r>
              <a:rPr lang="en-US"/>
              <a:t>Gartner conducted a recent survey finding that 41% of respondents have active citizen development and an additional 20% are currently evaluating or initiating citizen development within the enterprise.</a:t>
            </a:r>
          </a:p>
          <a:p>
            <a:endParaRPr lang="en-US"/>
          </a:p>
          <a:p>
            <a:r>
              <a:rPr lang="en-US"/>
              <a:t>This new group of developers are needed </a:t>
            </a:r>
            <a:r>
              <a:rPr lang="en-FI"/>
              <a:t>to handle </a:t>
            </a:r>
            <a:r>
              <a:rPr lang="en-US"/>
              <a:t>an increase in software, application, and database development required for the modern enterprise to support growing business demands.</a:t>
            </a:r>
          </a:p>
          <a:p>
            <a:endParaRPr lang="en-IN"/>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409609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609936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1969148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4747507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599899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72420857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42261473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9383220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03926195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69</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4/25/2024</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a:t>As the number of developers grows, the realities of the organization change.  For example, what once might be considered shadow IT or rogue IT and discouraged, might now be considered citizen IT where an end user creates own application to expedite a process or task.  Security really becomes securing the user identity rather than securing the network perimeter.  As more users gain access to data, DLP becomes more important.  Also, greater customizations are required for organizations’ unique IT environments.</a:t>
            </a:r>
          </a:p>
          <a:p>
            <a:pPr marL="0" indent="0">
              <a:buFont typeface="Arial" panose="020B0604020202020204" pitchFamily="34" charset="0"/>
              <a:buNone/>
            </a:pPr>
            <a:endParaRPr lang="en-US"/>
          </a:p>
        </p:txBody>
      </p:sp>
    </p:spTree>
    <p:extLst>
      <p:ext uri="{BB962C8B-B14F-4D97-AF65-F5344CB8AC3E}">
        <p14:creationId xmlns:p14="http://schemas.microsoft.com/office/powerpoint/2010/main" val="30677830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https://labondemand.com/LabProfile/</a:t>
            </a: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0</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1281682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https://labondemand.com/LabProfile/</a:t>
            </a: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1</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45029121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72</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4/25/2024</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29901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2705466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7766444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20697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24096635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0178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61195541"/>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93734917"/>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2103119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4.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4"/>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 id="2147484035" r:id="rId45"/>
    <p:sldLayoutId id="2147484036" r:id="rId46"/>
    <p:sldLayoutId id="2147484037" r:id="rId47"/>
    <p:sldLayoutId id="2147484038" r:id="rId48"/>
    <p:sldLayoutId id="2147484039" r:id="rId49"/>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39.xml"/><Relationship Id="rId1" Type="http://schemas.openxmlformats.org/officeDocument/2006/relationships/tags" Target="../tags/tag5.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1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42.xml"/><Relationship Id="rId1" Type="http://schemas.openxmlformats.org/officeDocument/2006/relationships/tags" Target="../tags/tag15.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2.xml"/><Relationship Id="rId7" Type="http://schemas.openxmlformats.org/officeDocument/2006/relationships/image" Target="../media/image9.png"/><Relationship Id="rId2" Type="http://schemas.openxmlformats.org/officeDocument/2006/relationships/slideLayout" Target="../slideLayouts/slideLayout9.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hyperlink" Target="https://aka.ms/coeofficehours" TargetMode="External"/><Relationship Id="rId2" Type="http://schemas.openxmlformats.org/officeDocument/2006/relationships/notesSlide" Target="../notesSlides/notesSlide13.xml"/><Relationship Id="rId1" Type="http://schemas.openxmlformats.org/officeDocument/2006/relationships/slideLayout" Target="../slideLayouts/slideLayout49.xml"/><Relationship Id="rId5" Type="http://schemas.openxmlformats.org/officeDocument/2006/relationships/hyperlink" Target="https://aka.ms/coeskme" TargetMode="External"/><Relationship Id="rId4" Type="http://schemas.openxmlformats.org/officeDocument/2006/relationships/hyperlink" Target="https://aka.ms/MEGuidance" TargetMode="Externa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4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7.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13.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22.png"/><Relationship Id="rId2" Type="http://schemas.openxmlformats.org/officeDocument/2006/relationships/slideLayout" Target="../slideLayouts/slideLayout9.xml"/><Relationship Id="rId1" Type="http://schemas.openxmlformats.org/officeDocument/2006/relationships/tags" Target="../tags/tag2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9.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2.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45.xml"/><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power-platform/guidance/adoption/wiki-community" TargetMode="External"/><Relationship Id="rId2" Type="http://schemas.openxmlformats.org/officeDocument/2006/relationships/notesSlide" Target="../notesSlides/notesSlide23.xml"/><Relationship Id="rId1" Type="http://schemas.openxmlformats.org/officeDocument/2006/relationships/slideLayout" Target="../slideLayouts/slideLayout45.xml"/><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6.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hyperlink" Target="https://docs.microsoft.com/en-us/power-platform/guidance/coe/starter-kit" TargetMode="External"/><Relationship Id="rId5" Type="http://schemas.openxmlformats.org/officeDocument/2006/relationships/notesSlide" Target="../notesSlides/notesSlide24.xml"/><Relationship Id="rId4"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4.xml"/><Relationship Id="rId7" Type="http://schemas.openxmlformats.org/officeDocument/2006/relationships/image" Target="../media/image27.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hyperlink" Target="https://github.com/microsoft/coe-starter-kit" TargetMode="External"/><Relationship Id="rId5" Type="http://schemas.openxmlformats.org/officeDocument/2006/relationships/notesSlide" Target="../notesSlides/notesSlide25.xml"/><Relationship Id="rId4" Type="http://schemas.openxmlformats.org/officeDocument/2006/relationships/slideLayout" Target="../slideLayouts/slideLayout10.xml"/><Relationship Id="rId9" Type="http://schemas.openxmlformats.org/officeDocument/2006/relationships/image" Target="../media/image29.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hyperlink" Target="https://learn.microsoft.com/en-us/power-platform/guidance/coe/setup" TargetMode="External"/><Relationship Id="rId5" Type="http://schemas.openxmlformats.org/officeDocument/2006/relationships/hyperlink" Target="https://docs.microsoft.com/en-us/power-platform/guidance/coe/setup#prerequisites" TargetMode="External"/><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1.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0.png"/><Relationship Id="rId5" Type="http://schemas.openxmlformats.org/officeDocument/2006/relationships/hyperlink" Target="https://aka.ms/CoEStarterKitDownload" TargetMode="External"/><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hyperlink" Target="https://learn.microsoft.com/en-us/power-platform/guidance/coe/modify-components#working-with-cloud-flows" TargetMode="External"/><Relationship Id="rId5" Type="http://schemas.openxmlformats.org/officeDocument/2006/relationships/hyperlink" Target="https://learn.microsoft.com/en-us/power-platform/guidance/coe/modify-components" TargetMode="External"/><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hyperlink" Target="https://learn.microsoft.com/en-us/power-platform/guidance/coe/modify-components" TargetMode="External"/><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customXml" Target="../../customXml/item40.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hyperlink" Target="https://docs.microsoft.com/en-us/power-platform/guidance/coe/limitations" TargetMode="External"/><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43.xml"/><Relationship Id="rId1" Type="http://schemas.openxmlformats.org/officeDocument/2006/relationships/tags" Target="../tags/tag45.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32.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34.xml"/><Relationship Id="rId7" Type="http://schemas.openxmlformats.org/officeDocument/2006/relationships/image" Target="../media/image36.jpeg"/><Relationship Id="rId2" Type="http://schemas.openxmlformats.org/officeDocument/2006/relationships/slideLayout" Target="../slideLayouts/slideLayout10.xml"/><Relationship Id="rId1" Type="http://schemas.openxmlformats.org/officeDocument/2006/relationships/tags" Target="../tags/tag50.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jpe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38.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39.png"/><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40.png"/><Relationship Id="rId5" Type="http://schemas.openxmlformats.org/officeDocument/2006/relationships/hyperlink" Target="https://learn.microsoft.com/en-us/power-platform/guidance/coe/setup-core-components#all-environment-variables" TargetMode="External"/><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learn.microsoft.com/en-us/power-platform/guidance/coe/core-components#security-roles" TargetMode="External"/><Relationship Id="rId5" Type="http://schemas.openxmlformats.org/officeDocument/2006/relationships/image" Target="../media/image41.png"/><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42.png"/><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41.xml"/><Relationship Id="rId1" Type="http://schemas.openxmlformats.org/officeDocument/2006/relationships/tags" Target="../tags/tag8.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48.png"/><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49.png"/><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5.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56.png"/><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57.png"/><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58.png"/><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59.png"/><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60.png"/><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61.png"/><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0.xml"/><Relationship Id="rId1" Type="http://schemas.openxmlformats.org/officeDocument/2006/relationships/tags" Target="../tags/tag87.xml"/><Relationship Id="rId6" Type="http://schemas.openxmlformats.org/officeDocument/2006/relationships/hyperlink" Target="https://learn.microsoft.com/en-us/powerapps/maker/data-platform/environmentvariables#use-azure-key-vault-secrets-preview" TargetMode="External"/><Relationship Id="rId5" Type="http://schemas.openxmlformats.org/officeDocument/2006/relationships/hyperlink" Target="https://learn.microsoft.com/en-us/power-platform/guidance/coe/setup-auditlog-http#create-an-azure-ad-app-registration-for-the-office-365-management-api" TargetMode="External"/><Relationship Id="rId4" Type="http://schemas.openxmlformats.org/officeDocument/2006/relationships/hyperlink" Target="https://manage.protection.apps.mil/" TargetMode="Externa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44.xml"/><Relationship Id="rId1" Type="http://schemas.openxmlformats.org/officeDocument/2006/relationships/tags" Target="../tags/tag88.xml"/><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4.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7.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0.xml"/><Relationship Id="rId1" Type="http://schemas.openxmlformats.org/officeDocument/2006/relationships/tags" Target="../tags/tag9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45.xml"/><Relationship Id="rId1" Type="http://schemas.openxmlformats.org/officeDocument/2006/relationships/tags" Target="../tags/tag96.xml"/><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10.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75.png"/><Relationship Id="rId5" Type="http://schemas.openxmlformats.org/officeDocument/2006/relationships/image" Target="../media/image73.png"/><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76.png"/><Relationship Id="rId5" Type="http://schemas.openxmlformats.org/officeDocument/2006/relationships/image" Target="../media/image73.png"/><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77.png"/><Relationship Id="rId5" Type="http://schemas.openxmlformats.org/officeDocument/2006/relationships/image" Target="../media/image73.png"/><Relationship Id="rId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78.png"/><Relationship Id="rId5" Type="http://schemas.openxmlformats.org/officeDocument/2006/relationships/image" Target="../media/image73.png"/><Relationship Id="rId4"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79.png"/><Relationship Id="rId5" Type="http://schemas.openxmlformats.org/officeDocument/2006/relationships/image" Target="../media/image73.png"/><Relationship Id="rId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80.png"/><Relationship Id="rId5" Type="http://schemas.openxmlformats.org/officeDocument/2006/relationships/image" Target="../media/image73.png"/><Relationship Id="rId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81.png"/><Relationship Id="rId5" Type="http://schemas.openxmlformats.org/officeDocument/2006/relationships/image" Target="../media/image73.png"/><Relationship Id="rId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4.xml"/><Relationship Id="rId1" Type="http://schemas.openxmlformats.org/officeDocument/2006/relationships/tags" Target="../tags/tag11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4.xml"/><Relationship Id="rId1" Type="http://schemas.openxmlformats.org/officeDocument/2006/relationships/tags" Target="../tags/tag116.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4.xml"/><Relationship Id="rId1" Type="http://schemas.openxmlformats.org/officeDocument/2006/relationships/tags" Target="../tags/tag117.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43.xml"/><Relationship Id="rId1" Type="http://schemas.openxmlformats.org/officeDocument/2006/relationships/tags" Target="../tags/tag11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custData r:id="rId2"/>
            </p:custDataLst>
          </p:nvPr>
        </p:nvSpPr>
        <p:spPr>
          <a:xfrm>
            <a:off x="582042" y="3178211"/>
            <a:ext cx="10673391" cy="1477328"/>
          </a:xfrm>
        </p:spPr>
        <p:txBody>
          <a:bodyPr/>
          <a:lstStyle/>
          <a:p>
            <a:pPr>
              <a:lnSpc>
                <a:spcPct val="100000"/>
              </a:lnSpc>
              <a:spcBef>
                <a:spcPts val="1200"/>
              </a:spcBef>
            </a:pPr>
            <a:r>
              <a:rPr lang="en-US" sz="4800"/>
              <a:t>Workshop</a:t>
            </a:r>
            <a:r>
              <a:rPr lang="en-FI" sz="4800"/>
              <a:t>PLUS  </a:t>
            </a:r>
            <a:br>
              <a:rPr lang="en-FI" sz="4800"/>
            </a:br>
            <a:r>
              <a:rPr lang="en-US" sz="4800"/>
              <a:t>Power Platform</a:t>
            </a:r>
            <a:r>
              <a:rPr lang="en-FI" sz="4800"/>
              <a:t> </a:t>
            </a:r>
            <a:r>
              <a:rPr lang="en-US" sz="4800"/>
              <a:t>for Administrators</a:t>
            </a:r>
          </a:p>
        </p:txBody>
      </p:sp>
      <p:sp>
        <p:nvSpPr>
          <p:cNvPr id="6" name="Subtitle 5">
            <a:extLst>
              <a:ext uri="{FF2B5EF4-FFF2-40B4-BE49-F238E27FC236}">
                <a16:creationId xmlns:a16="http://schemas.microsoft.com/office/drawing/2014/main" id="{12808BD5-6BEE-4164-9264-E55A823F2E3D}"/>
              </a:ext>
            </a:extLst>
          </p:cNvPr>
          <p:cNvSpPr>
            <a:spLocks noGrp="1"/>
          </p:cNvSpPr>
          <p:nvPr>
            <p:ph type="body" sz="quarter" idx="12"/>
          </p:nvPr>
        </p:nvSpPr>
        <p:spPr>
          <a:xfrm>
            <a:off x="582042" y="4885907"/>
            <a:ext cx="4956609" cy="1226607"/>
          </a:xfrm>
        </p:spPr>
        <p:txBody>
          <a:bodyPr>
            <a:normAutofit/>
          </a:bodyPr>
          <a:lstStyle/>
          <a:p>
            <a:r>
              <a:rPr lang="en-US" sz="2800"/>
              <a:t>Center of Excellence Starter Kit</a:t>
            </a:r>
          </a:p>
        </p:txBody>
      </p:sp>
    </p:spTree>
    <p:custDataLst>
      <p:tags r:id="rId1"/>
    </p:custDataLst>
    <p:extLst>
      <p:ext uri="{BB962C8B-B14F-4D97-AF65-F5344CB8AC3E}">
        <p14:creationId xmlns:p14="http://schemas.microsoft.com/office/powerpoint/2010/main" val="95833128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Governance – Practically Applied</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a:xfrm>
            <a:off x="655637" y="786383"/>
            <a:ext cx="11536363" cy="621731"/>
          </a:xfrm>
        </p:spPr>
        <p:txBody>
          <a:bodyPr>
            <a:normAutofit/>
          </a:bodyPr>
          <a:lstStyle/>
          <a:p>
            <a:pPr lvl="1"/>
            <a:r>
              <a:rPr lang="en-US"/>
              <a:t>IT must adapt to the growing number of non-technical developers</a:t>
            </a:r>
          </a:p>
        </p:txBody>
      </p:sp>
      <p:sp>
        <p:nvSpPr>
          <p:cNvPr id="46" name="Rectangle 45">
            <a:extLst>
              <a:ext uri="{FF2B5EF4-FFF2-40B4-BE49-F238E27FC236}">
                <a16:creationId xmlns:a16="http://schemas.microsoft.com/office/drawing/2014/main" id="{76B3B9F6-FA3D-4188-AD36-44E45B941D75}"/>
              </a:ext>
            </a:extLst>
          </p:cNvPr>
          <p:cNvSpPr/>
          <p:nvPr/>
        </p:nvSpPr>
        <p:spPr bwMode="auto">
          <a:xfrm>
            <a:off x="2746881" y="4636763"/>
            <a:ext cx="9688711" cy="729407"/>
          </a:xfrm>
          <a:prstGeom prst="rect">
            <a:avLst/>
          </a:prstGeom>
          <a:noFill/>
          <a:ln w="317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47" name="Rectangle 46">
            <a:extLst>
              <a:ext uri="{FF2B5EF4-FFF2-40B4-BE49-F238E27FC236}">
                <a16:creationId xmlns:a16="http://schemas.microsoft.com/office/drawing/2014/main" id="{C05FF927-7D6D-4907-8F78-E38787F83956}"/>
              </a:ext>
            </a:extLst>
          </p:cNvPr>
          <p:cNvSpPr/>
          <p:nvPr/>
        </p:nvSpPr>
        <p:spPr bwMode="auto">
          <a:xfrm>
            <a:off x="2746881" y="5685942"/>
            <a:ext cx="9688711" cy="729407"/>
          </a:xfrm>
          <a:prstGeom prst="rect">
            <a:avLst/>
          </a:prstGeom>
          <a:noFill/>
          <a:ln w="317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847E65A0-A2E5-4929-AEDE-FCF86EB27815}"/>
              </a:ext>
            </a:extLst>
          </p:cNvPr>
          <p:cNvGrpSpPr/>
          <p:nvPr/>
        </p:nvGrpSpPr>
        <p:grpSpPr>
          <a:xfrm>
            <a:off x="3434931" y="2356766"/>
            <a:ext cx="8312475" cy="2279997"/>
            <a:chOff x="3340100" y="1447800"/>
            <a:chExt cx="8416925" cy="754063"/>
          </a:xfrm>
          <a:noFill/>
        </p:grpSpPr>
        <p:sp>
          <p:nvSpPr>
            <p:cNvPr id="49" name="Rectangle 48">
              <a:extLst>
                <a:ext uri="{FF2B5EF4-FFF2-40B4-BE49-F238E27FC236}">
                  <a16:creationId xmlns:a16="http://schemas.microsoft.com/office/drawing/2014/main" id="{C5F94DC4-FCCA-4CC4-AB8C-6DE16BEEB0BA}"/>
                </a:ext>
              </a:extLst>
            </p:cNvPr>
            <p:cNvSpPr/>
            <p:nvPr/>
          </p:nvSpPr>
          <p:spPr bwMode="auto">
            <a:xfrm>
              <a:off x="3340100" y="1447800"/>
              <a:ext cx="2778125" cy="75406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597" eaLnBrk="1" fontAlgn="auto" latinLnBrk="0" hangingPunct="1">
                <a:lnSpc>
                  <a:spcPct val="100000"/>
                </a:lnSpc>
                <a:spcBef>
                  <a:spcPts val="0"/>
                </a:spcBef>
                <a:spcAft>
                  <a:spcPts val="816"/>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Define your</a:t>
              </a:r>
              <a:br>
                <a:rPr kumimoji="0" lang="en-US" sz="1428" b="0" i="0" u="none" strike="noStrike" kern="0" cap="none" spc="0" normalizeH="0" baseline="0" noProof="0">
                  <a:ln>
                    <a:noFill/>
                  </a:ln>
                  <a:solidFill>
                    <a:srgbClr val="3C3C41"/>
                  </a:solidFill>
                  <a:effectLst/>
                  <a:uLnTx/>
                  <a:uFillTx/>
                  <a:latin typeface="Segoe UI"/>
                  <a:ea typeface="+mn-ea"/>
                  <a:cs typeface="+mn-cs"/>
                </a:rPr>
              </a:br>
              <a:r>
                <a:rPr kumimoji="0" lang="en-US" sz="1428" b="0" i="0" u="none" strike="noStrike" kern="0" cap="none" spc="0" normalizeH="0" baseline="0" noProof="0">
                  <a:ln>
                    <a:noFill/>
                  </a:ln>
                  <a:solidFill>
                    <a:srgbClr val="3C3C41"/>
                  </a:solidFill>
                  <a:effectLst/>
                  <a:uLnTx/>
                  <a:uFillTx/>
                  <a:latin typeface="Segoe UI"/>
                  <a:ea typeface="+mn-ea"/>
                  <a:cs typeface="+mn-cs"/>
                </a:rPr>
                <a:t>environment strategy</a:t>
              </a:r>
              <a:endParaRPr kumimoji="0" lang="en-IN" sz="1428"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32597" eaLnBrk="1" fontAlgn="auto" latinLnBrk="0" hangingPunct="1">
                <a:lnSpc>
                  <a:spcPct val="100000"/>
                </a:lnSpc>
                <a:spcBef>
                  <a:spcPts val="0"/>
                </a:spcBef>
                <a:spcAft>
                  <a:spcPts val="816"/>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Configure data loss</a:t>
              </a:r>
              <a:br>
                <a:rPr kumimoji="0" lang="en-US" sz="1428" b="0" i="0" u="none" strike="noStrike" kern="0" cap="none" spc="0" normalizeH="0" baseline="0" noProof="0">
                  <a:ln>
                    <a:noFill/>
                  </a:ln>
                  <a:solidFill>
                    <a:srgbClr val="3C3C41"/>
                  </a:solidFill>
                  <a:effectLst/>
                  <a:uLnTx/>
                  <a:uFillTx/>
                  <a:latin typeface="Segoe UI"/>
                  <a:ea typeface="+mn-ea"/>
                  <a:cs typeface="+mn-cs"/>
                </a:rPr>
              </a:br>
              <a:r>
                <a:rPr kumimoji="0" lang="en-US" sz="1428" b="0" i="0" u="none" strike="noStrike" kern="0" cap="none" spc="0" normalizeH="0" baseline="0" noProof="0">
                  <a:ln>
                    <a:noFill/>
                  </a:ln>
                  <a:solidFill>
                    <a:srgbClr val="3C3C41"/>
                  </a:solidFill>
                  <a:effectLst/>
                  <a:uLnTx/>
                  <a:uFillTx/>
                  <a:latin typeface="Segoe UI"/>
                  <a:ea typeface="+mn-ea"/>
                  <a:cs typeface="+mn-cs"/>
                </a:rPr>
                <a:t>prevention policies</a:t>
              </a:r>
            </a:p>
            <a:p>
              <a:pPr marL="0" marR="0" lvl="0" indent="0" algn="ctr" defTabSz="932597" eaLnBrk="1" fontAlgn="auto" latinLnBrk="0" hangingPunct="1">
                <a:lnSpc>
                  <a:spcPct val="100000"/>
                </a:lnSpc>
                <a:spcBef>
                  <a:spcPts val="0"/>
                </a:spcBef>
                <a:spcAft>
                  <a:spcPts val="816"/>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Configure data gateways and tenant isolation</a:t>
              </a:r>
            </a:p>
            <a:p>
              <a:pPr marL="0" marR="0" lvl="0" indent="0" algn="ctr" defTabSz="932597" eaLnBrk="1" fontAlgn="auto" latinLnBrk="0" hangingPunct="1">
                <a:lnSpc>
                  <a:spcPct val="100000"/>
                </a:lnSpc>
                <a:spcBef>
                  <a:spcPts val="0"/>
                </a:spcBef>
                <a:spcAft>
                  <a:spcPts val="816"/>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Set up shared user productivity environments</a:t>
              </a:r>
            </a:p>
            <a:p>
              <a:pPr marL="0" marR="0" lvl="0" indent="0" algn="ctr" defTabSz="932597" eaLnBrk="1" fontAlgn="auto" latinLnBrk="0" hangingPunct="1">
                <a:lnSpc>
                  <a:spcPct val="100000"/>
                </a:lnSpc>
                <a:spcBef>
                  <a:spcPts val="0"/>
                </a:spcBef>
                <a:spcAft>
                  <a:spcPts val="816"/>
                </a:spcAft>
                <a:buClrTx/>
                <a:buSzTx/>
                <a:buFontTx/>
                <a:buNone/>
                <a:tabLst/>
                <a:defRPr/>
              </a:pPr>
              <a:endParaRPr kumimoji="0" lang="en-IN" sz="1632" b="0" i="0" u="none" strike="noStrike" kern="0" cap="none" spc="0" normalizeH="0" baseline="0" noProof="0">
                <a:ln>
                  <a:noFill/>
                </a:ln>
                <a:solidFill>
                  <a:srgbClr val="3C3C41"/>
                </a:solidFill>
                <a:effectLst/>
                <a:uLnTx/>
                <a:uFillTx/>
                <a:latin typeface="Segoe UI"/>
                <a:ea typeface="+mn-ea"/>
                <a:cs typeface="+mn-cs"/>
              </a:endParaRPr>
            </a:p>
          </p:txBody>
        </p:sp>
        <p:sp>
          <p:nvSpPr>
            <p:cNvPr id="50" name="Rectangle 49">
              <a:extLst>
                <a:ext uri="{FF2B5EF4-FFF2-40B4-BE49-F238E27FC236}">
                  <a16:creationId xmlns:a16="http://schemas.microsoft.com/office/drawing/2014/main" id="{7AA6FEB7-C927-4986-9CB1-C2AA891956C3}"/>
                </a:ext>
              </a:extLst>
            </p:cNvPr>
            <p:cNvSpPr/>
            <p:nvPr/>
          </p:nvSpPr>
          <p:spPr bwMode="auto">
            <a:xfrm>
              <a:off x="6159500" y="1447800"/>
              <a:ext cx="2778125" cy="75406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597" eaLnBrk="1" fontAlgn="auto" latinLnBrk="0" hangingPunct="1">
                <a:lnSpc>
                  <a:spcPct val="100000"/>
                </a:lnSpc>
                <a:spcBef>
                  <a:spcPts val="0"/>
                </a:spcBef>
                <a:spcAft>
                  <a:spcPts val="816"/>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Review out-of-box analytics</a:t>
              </a:r>
              <a:endParaRPr kumimoji="0" lang="en-IN" sz="1428"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32597" eaLnBrk="1" fontAlgn="auto" latinLnBrk="0" hangingPunct="1">
                <a:lnSpc>
                  <a:spcPct val="100000"/>
                </a:lnSpc>
                <a:spcBef>
                  <a:spcPts val="0"/>
                </a:spcBef>
                <a:spcAft>
                  <a:spcPts val="816"/>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Configure audit logs</a:t>
              </a:r>
              <a:endParaRPr kumimoji="0" lang="en-IN" sz="1428"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32597" eaLnBrk="1" fontAlgn="auto" latinLnBrk="0" hangingPunct="1">
                <a:lnSpc>
                  <a:spcPct val="100000"/>
                </a:lnSpc>
                <a:spcBef>
                  <a:spcPts val="0"/>
                </a:spcBef>
                <a:spcAft>
                  <a:spcPts val="816"/>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Extract telemetry for</a:t>
              </a:r>
              <a:br>
                <a:rPr kumimoji="0" lang="en-US" sz="1428" b="0" i="0" u="none" strike="noStrike" kern="0" cap="none" spc="0" normalizeH="0" baseline="0" noProof="0">
                  <a:ln>
                    <a:noFill/>
                  </a:ln>
                  <a:solidFill>
                    <a:srgbClr val="3C3C41"/>
                  </a:solidFill>
                  <a:effectLst/>
                  <a:uLnTx/>
                  <a:uFillTx/>
                  <a:latin typeface="Segoe UI"/>
                  <a:ea typeface="+mn-ea"/>
                  <a:cs typeface="+mn-cs"/>
                </a:rPr>
              </a:br>
              <a:r>
                <a:rPr kumimoji="0" lang="en-US" sz="1428" b="0" i="0" u="none" strike="noStrike" kern="0" cap="none" spc="0" normalizeH="0" baseline="0" noProof="0">
                  <a:ln>
                    <a:noFill/>
                  </a:ln>
                  <a:solidFill>
                    <a:srgbClr val="3C3C41"/>
                  </a:solidFill>
                  <a:effectLst/>
                  <a:uLnTx/>
                  <a:uFillTx/>
                  <a:latin typeface="Segoe UI"/>
                  <a:ea typeface="+mn-ea"/>
                  <a:cs typeface="+mn-cs"/>
                </a:rPr>
                <a:t>ad-hoc reporting</a:t>
              </a:r>
              <a:endParaRPr kumimoji="0" lang="en-IN" sz="1428" b="0" i="0" u="none" strike="noStrike" kern="0" cap="none" spc="0" normalizeH="0" baseline="0" noProof="0">
                <a:ln>
                  <a:noFill/>
                </a:ln>
                <a:solidFill>
                  <a:srgbClr val="3C3C41"/>
                </a:solidFill>
                <a:effectLst/>
                <a:uLnTx/>
                <a:uFillTx/>
                <a:latin typeface="Segoe UI"/>
                <a:ea typeface="+mn-ea"/>
                <a:cs typeface="+mn-cs"/>
              </a:endParaRPr>
            </a:p>
          </p:txBody>
        </p:sp>
        <p:sp>
          <p:nvSpPr>
            <p:cNvPr id="51" name="Rectangle 50">
              <a:extLst>
                <a:ext uri="{FF2B5EF4-FFF2-40B4-BE49-F238E27FC236}">
                  <a16:creationId xmlns:a16="http://schemas.microsoft.com/office/drawing/2014/main" id="{9E0ADAAD-DFB9-4E1B-90B6-EA8D78F3F8B9}"/>
                </a:ext>
              </a:extLst>
            </p:cNvPr>
            <p:cNvSpPr/>
            <p:nvPr/>
          </p:nvSpPr>
          <p:spPr bwMode="auto">
            <a:xfrm>
              <a:off x="8978900" y="1447800"/>
              <a:ext cx="2778125" cy="75406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597" eaLnBrk="1" fontAlgn="auto" latinLnBrk="0" hangingPunct="1">
                <a:lnSpc>
                  <a:spcPct val="100000"/>
                </a:lnSpc>
                <a:spcBef>
                  <a:spcPts val="0"/>
                </a:spcBef>
                <a:spcAft>
                  <a:spcPts val="816"/>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Automate policies using management connectors</a:t>
              </a:r>
            </a:p>
            <a:p>
              <a:pPr marL="0" marR="0" lvl="0" indent="0" algn="ctr" defTabSz="932597" eaLnBrk="1" fontAlgn="auto" latinLnBrk="0" hangingPunct="1">
                <a:lnSpc>
                  <a:spcPct val="100000"/>
                </a:lnSpc>
                <a:spcBef>
                  <a:spcPts val="0"/>
                </a:spcBef>
                <a:spcAft>
                  <a:spcPts val="816"/>
                </a:spcAft>
                <a:buClrTx/>
                <a:buSzTx/>
                <a:buFontTx/>
                <a:buNone/>
                <a:tabLst/>
                <a:defRPr/>
              </a:pPr>
              <a:endParaRPr kumimoji="0" lang="en-US" sz="1428"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32597" eaLnBrk="1" fontAlgn="auto" latinLnBrk="0" hangingPunct="1">
                <a:lnSpc>
                  <a:spcPct val="100000"/>
                </a:lnSpc>
                <a:spcBef>
                  <a:spcPts val="0"/>
                </a:spcBef>
                <a:spcAft>
                  <a:spcPts val="816"/>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Leverage admin PowerShell or admin APIs for automation</a:t>
              </a:r>
            </a:p>
            <a:p>
              <a:pPr marL="0" marR="0" lvl="0" indent="0" algn="ctr" defTabSz="932597" eaLnBrk="1" fontAlgn="auto" latinLnBrk="0" hangingPunct="1">
                <a:lnSpc>
                  <a:spcPct val="100000"/>
                </a:lnSpc>
                <a:spcBef>
                  <a:spcPts val="0"/>
                </a:spcBef>
                <a:spcAft>
                  <a:spcPts val="816"/>
                </a:spcAft>
                <a:buClrTx/>
                <a:buSzTx/>
                <a:buFontTx/>
                <a:buNone/>
                <a:tabLst/>
                <a:defRPr/>
              </a:pPr>
              <a:endParaRPr kumimoji="0" lang="en-US" sz="1632" b="0" i="0" u="none" strike="noStrike" kern="0" cap="none" spc="0" normalizeH="0" baseline="0" noProof="0">
                <a:ln>
                  <a:noFill/>
                </a:ln>
                <a:solidFill>
                  <a:srgbClr val="3C3C41"/>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778D4597-6CB7-4AEA-A997-E9213031B534}"/>
              </a:ext>
            </a:extLst>
          </p:cNvPr>
          <p:cNvGrpSpPr/>
          <p:nvPr/>
        </p:nvGrpSpPr>
        <p:grpSpPr>
          <a:xfrm>
            <a:off x="0" y="1476622"/>
            <a:ext cx="12191040" cy="769074"/>
            <a:chOff x="238916" y="1447800"/>
            <a:chExt cx="11953084" cy="754063"/>
          </a:xfrm>
        </p:grpSpPr>
        <p:sp>
          <p:nvSpPr>
            <p:cNvPr id="53" name="Freeform: Shape 52">
              <a:extLst>
                <a:ext uri="{FF2B5EF4-FFF2-40B4-BE49-F238E27FC236}">
                  <a16:creationId xmlns:a16="http://schemas.microsoft.com/office/drawing/2014/main" id="{BA291AB9-B5D9-4AFC-B5B2-CF9950355B67}"/>
                </a:ext>
              </a:extLst>
            </p:cNvPr>
            <p:cNvSpPr/>
            <p:nvPr/>
          </p:nvSpPr>
          <p:spPr bwMode="auto">
            <a:xfrm>
              <a:off x="238916" y="1447800"/>
              <a:ext cx="11953084" cy="754063"/>
            </a:xfrm>
            <a:custGeom>
              <a:avLst/>
              <a:gdLst>
                <a:gd name="connsiteX0" fmla="*/ 754063 w 9246401"/>
                <a:gd name="connsiteY0" fmla="*/ 0 h 754063"/>
                <a:gd name="connsiteX1" fmla="*/ 873131 w 9246401"/>
                <a:gd name="connsiteY1" fmla="*/ 0 h 754063"/>
                <a:gd name="connsiteX2" fmla="*/ 9127333 w 9246401"/>
                <a:gd name="connsiteY2" fmla="*/ 0 h 754063"/>
                <a:gd name="connsiteX3" fmla="*/ 9246401 w 9246401"/>
                <a:gd name="connsiteY3" fmla="*/ 0 h 754063"/>
                <a:gd name="connsiteX4" fmla="*/ 9246401 w 9246401"/>
                <a:gd name="connsiteY4" fmla="*/ 754063 h 754063"/>
                <a:gd name="connsiteX5" fmla="*/ 9127333 w 9246401"/>
                <a:gd name="connsiteY5" fmla="*/ 754063 h 754063"/>
                <a:gd name="connsiteX6" fmla="*/ 119068 w 9246401"/>
                <a:gd name="connsiteY6" fmla="*/ 754063 h 754063"/>
                <a:gd name="connsiteX7" fmla="*/ 0 w 9246401"/>
                <a:gd name="connsiteY7" fmla="*/ 754063 h 75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46401" h="754063">
                  <a:moveTo>
                    <a:pt x="754063" y="0"/>
                  </a:moveTo>
                  <a:lnTo>
                    <a:pt x="873131" y="0"/>
                  </a:lnTo>
                  <a:lnTo>
                    <a:pt x="9127333" y="0"/>
                  </a:lnTo>
                  <a:lnTo>
                    <a:pt x="9246401" y="0"/>
                  </a:lnTo>
                  <a:lnTo>
                    <a:pt x="9246401" y="754063"/>
                  </a:lnTo>
                  <a:lnTo>
                    <a:pt x="9127333" y="754063"/>
                  </a:lnTo>
                  <a:lnTo>
                    <a:pt x="119068" y="754063"/>
                  </a:lnTo>
                  <a:lnTo>
                    <a:pt x="0" y="754063"/>
                  </a:lnTo>
                  <a:close/>
                </a:path>
              </a:pathLst>
            </a:cu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IN"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F3AC2E33-7296-4CDB-A2A4-21C7A8E45ECC}"/>
                </a:ext>
              </a:extLst>
            </p:cNvPr>
            <p:cNvSpPr/>
            <p:nvPr/>
          </p:nvSpPr>
          <p:spPr bwMode="auto">
            <a:xfrm>
              <a:off x="3606800" y="1447800"/>
              <a:ext cx="2690097" cy="7540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3C3C41"/>
                  </a:solidFill>
                  <a:effectLst/>
                  <a:uLnTx/>
                  <a:uFillTx/>
                  <a:latin typeface="Segoe UI Semibold"/>
                  <a:ea typeface="+mn-ea"/>
                  <a:cs typeface="+mn-cs"/>
                </a:rPr>
                <a:t>Secure</a:t>
              </a:r>
            </a:p>
          </p:txBody>
        </p:sp>
        <p:sp>
          <p:nvSpPr>
            <p:cNvPr id="55" name="Rectangle 54">
              <a:extLst>
                <a:ext uri="{FF2B5EF4-FFF2-40B4-BE49-F238E27FC236}">
                  <a16:creationId xmlns:a16="http://schemas.microsoft.com/office/drawing/2014/main" id="{DB5188C6-B27F-43CC-94D6-C83853EE06C8}"/>
                </a:ext>
              </a:extLst>
            </p:cNvPr>
            <p:cNvSpPr/>
            <p:nvPr/>
          </p:nvSpPr>
          <p:spPr bwMode="auto">
            <a:xfrm>
              <a:off x="6336863" y="1447800"/>
              <a:ext cx="2690097" cy="7540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3C3C41"/>
                  </a:solidFill>
                  <a:effectLst/>
                  <a:uLnTx/>
                  <a:uFillTx/>
                  <a:latin typeface="Segoe UI Semibold"/>
                  <a:ea typeface="+mn-ea"/>
                  <a:cs typeface="+mn-cs"/>
                </a:rPr>
                <a:t>Monitor</a:t>
              </a:r>
            </a:p>
          </p:txBody>
        </p:sp>
        <p:sp>
          <p:nvSpPr>
            <p:cNvPr id="56" name="Rectangle 55">
              <a:extLst>
                <a:ext uri="{FF2B5EF4-FFF2-40B4-BE49-F238E27FC236}">
                  <a16:creationId xmlns:a16="http://schemas.microsoft.com/office/drawing/2014/main" id="{5E2C267C-E680-4087-AC73-01136E01BD4C}"/>
                </a:ext>
              </a:extLst>
            </p:cNvPr>
            <p:cNvSpPr/>
            <p:nvPr/>
          </p:nvSpPr>
          <p:spPr bwMode="auto">
            <a:xfrm>
              <a:off x="9066928" y="1447800"/>
              <a:ext cx="2690097" cy="7540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3C3C41"/>
                  </a:solidFill>
                  <a:effectLst/>
                  <a:uLnTx/>
                  <a:uFillTx/>
                  <a:latin typeface="Segoe UI Semibold"/>
                  <a:ea typeface="+mn-ea"/>
                  <a:cs typeface="+mn-cs"/>
                </a:rPr>
                <a:t>Manage</a:t>
              </a:r>
            </a:p>
          </p:txBody>
        </p:sp>
        <p:grpSp>
          <p:nvGrpSpPr>
            <p:cNvPr id="57" name="Group 56">
              <a:extLst>
                <a:ext uri="{FF2B5EF4-FFF2-40B4-BE49-F238E27FC236}">
                  <a16:creationId xmlns:a16="http://schemas.microsoft.com/office/drawing/2014/main" id="{EC77F9E9-72A2-4B06-8CD0-2510F8BA9833}"/>
                </a:ext>
              </a:extLst>
            </p:cNvPr>
            <p:cNvGrpSpPr/>
            <p:nvPr/>
          </p:nvGrpSpPr>
          <p:grpSpPr>
            <a:xfrm>
              <a:off x="6316880" y="1552575"/>
              <a:ext cx="2730063" cy="544514"/>
              <a:chOff x="6316880" y="1447800"/>
              <a:chExt cx="2730063" cy="754063"/>
            </a:xfrm>
          </p:grpSpPr>
          <p:cxnSp>
            <p:nvCxnSpPr>
              <p:cNvPr id="68" name="Straight Connector 67">
                <a:extLst>
                  <a:ext uri="{FF2B5EF4-FFF2-40B4-BE49-F238E27FC236}">
                    <a16:creationId xmlns:a16="http://schemas.microsoft.com/office/drawing/2014/main" id="{BBB3481E-9B6D-4E42-97F3-B976BD3937F1}"/>
                  </a:ext>
                </a:extLst>
              </p:cNvPr>
              <p:cNvCxnSpPr>
                <a:cxnSpLocks/>
              </p:cNvCxnSpPr>
              <p:nvPr/>
            </p:nvCxnSpPr>
            <p:spPr>
              <a:xfrm>
                <a:off x="6316880" y="1447800"/>
                <a:ext cx="0" cy="754063"/>
              </a:xfrm>
              <a:prstGeom prst="line">
                <a:avLst/>
              </a:prstGeom>
              <a:noFill/>
              <a:ln w="6350" cap="flat" cmpd="sng" algn="ctr">
                <a:solidFill>
                  <a:srgbClr val="FFFFFF">
                    <a:lumMod val="75000"/>
                  </a:srgbClr>
                </a:solidFill>
                <a:prstDash val="solid"/>
                <a:headEnd type="none"/>
                <a:tailEnd type="none"/>
              </a:ln>
              <a:effectLst/>
            </p:spPr>
          </p:cxnSp>
          <p:cxnSp>
            <p:nvCxnSpPr>
              <p:cNvPr id="69" name="Straight Connector 68">
                <a:extLst>
                  <a:ext uri="{FF2B5EF4-FFF2-40B4-BE49-F238E27FC236}">
                    <a16:creationId xmlns:a16="http://schemas.microsoft.com/office/drawing/2014/main" id="{6851EF13-5B0A-4C41-AD99-FD873AD0E60E}"/>
                  </a:ext>
                </a:extLst>
              </p:cNvPr>
              <p:cNvCxnSpPr>
                <a:cxnSpLocks/>
              </p:cNvCxnSpPr>
              <p:nvPr/>
            </p:nvCxnSpPr>
            <p:spPr>
              <a:xfrm>
                <a:off x="9046943" y="1447800"/>
                <a:ext cx="0" cy="754063"/>
              </a:xfrm>
              <a:prstGeom prst="line">
                <a:avLst/>
              </a:prstGeom>
              <a:noFill/>
              <a:ln w="6350" cap="flat" cmpd="sng" algn="ctr">
                <a:solidFill>
                  <a:srgbClr val="FFFFFF">
                    <a:lumMod val="75000"/>
                  </a:srgbClr>
                </a:solidFill>
                <a:prstDash val="solid"/>
                <a:headEnd type="none"/>
                <a:tailEnd type="none"/>
              </a:ln>
              <a:effectLst/>
            </p:spPr>
          </p:cxnSp>
        </p:grpSp>
        <p:grpSp>
          <p:nvGrpSpPr>
            <p:cNvPr id="58" name="Group 57">
              <a:extLst>
                <a:ext uri="{FF2B5EF4-FFF2-40B4-BE49-F238E27FC236}">
                  <a16:creationId xmlns:a16="http://schemas.microsoft.com/office/drawing/2014/main" id="{9DFF25CD-6049-482D-89E5-738A13FF204E}"/>
                </a:ext>
              </a:extLst>
            </p:cNvPr>
            <p:cNvGrpSpPr/>
            <p:nvPr/>
          </p:nvGrpSpPr>
          <p:grpSpPr>
            <a:xfrm>
              <a:off x="6166067" y="1671638"/>
              <a:ext cx="306386" cy="306386"/>
              <a:chOff x="5689600" y="4792663"/>
              <a:chExt cx="612648" cy="612648"/>
            </a:xfrm>
          </p:grpSpPr>
          <p:sp>
            <p:nvSpPr>
              <p:cNvPr id="64" name="Flowchart: Connector 63">
                <a:extLst>
                  <a:ext uri="{FF2B5EF4-FFF2-40B4-BE49-F238E27FC236}">
                    <a16:creationId xmlns:a16="http://schemas.microsoft.com/office/drawing/2014/main" id="{C694AD8C-8768-4ED2-BC3D-A9ECD1EA0824}"/>
                  </a:ext>
                </a:extLst>
              </p:cNvPr>
              <p:cNvSpPr/>
              <p:nvPr/>
            </p:nvSpPr>
            <p:spPr bwMode="auto">
              <a:xfrm>
                <a:off x="5689600" y="4792663"/>
                <a:ext cx="612648" cy="612648"/>
              </a:xfrm>
              <a:prstGeom prst="flowChartConnector">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IN"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F41FB842-D0EB-40B0-B0EC-1C331976A6D1}"/>
                  </a:ext>
                </a:extLst>
              </p:cNvPr>
              <p:cNvGrpSpPr/>
              <p:nvPr/>
            </p:nvGrpSpPr>
            <p:grpSpPr>
              <a:xfrm>
                <a:off x="5759400" y="4901486"/>
                <a:ext cx="473049" cy="395002"/>
                <a:chOff x="6948964" y="3789361"/>
                <a:chExt cx="343733" cy="287021"/>
              </a:xfrm>
            </p:grpSpPr>
            <p:sp>
              <p:nvSpPr>
                <p:cNvPr id="66" name="Arrow: Chevron 65">
                  <a:extLst>
                    <a:ext uri="{FF2B5EF4-FFF2-40B4-BE49-F238E27FC236}">
                      <a16:creationId xmlns:a16="http://schemas.microsoft.com/office/drawing/2014/main" id="{062D042E-DF63-4688-B136-039B307601EE}"/>
                    </a:ext>
                  </a:extLst>
                </p:cNvPr>
                <p:cNvSpPr/>
                <p:nvPr/>
              </p:nvSpPr>
              <p:spPr bwMode="auto">
                <a:xfrm>
                  <a:off x="6948964" y="3815239"/>
                  <a:ext cx="235268" cy="235266"/>
                </a:xfrm>
                <a:prstGeom prst="chevron">
                  <a:avLst>
                    <a:gd name="adj" fmla="val 47543"/>
                  </a:avLst>
                </a:prstGeom>
                <a:solidFill>
                  <a:srgbClr val="3C3C41">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IN"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Arrow: Chevron 66">
                  <a:extLst>
                    <a:ext uri="{FF2B5EF4-FFF2-40B4-BE49-F238E27FC236}">
                      <a16:creationId xmlns:a16="http://schemas.microsoft.com/office/drawing/2014/main" id="{BF10B8F7-3E3B-460C-B59E-00ED4F4AF7F3}"/>
                    </a:ext>
                  </a:extLst>
                </p:cNvPr>
                <p:cNvSpPr/>
                <p:nvPr/>
              </p:nvSpPr>
              <p:spPr bwMode="auto">
                <a:xfrm>
                  <a:off x="7005676" y="3789361"/>
                  <a:ext cx="287021" cy="287021"/>
                </a:xfrm>
                <a:prstGeom prst="chevron">
                  <a:avLst>
                    <a:gd name="adj" fmla="val 47543"/>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IN"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9" name="Group 58">
              <a:extLst>
                <a:ext uri="{FF2B5EF4-FFF2-40B4-BE49-F238E27FC236}">
                  <a16:creationId xmlns:a16="http://schemas.microsoft.com/office/drawing/2014/main" id="{4E496DEC-4A25-469F-B022-4382409F3127}"/>
                </a:ext>
              </a:extLst>
            </p:cNvPr>
            <p:cNvGrpSpPr/>
            <p:nvPr/>
          </p:nvGrpSpPr>
          <p:grpSpPr>
            <a:xfrm>
              <a:off x="8893393" y="1671638"/>
              <a:ext cx="306386" cy="306386"/>
              <a:chOff x="5689600" y="4792663"/>
              <a:chExt cx="612648" cy="612648"/>
            </a:xfrm>
          </p:grpSpPr>
          <p:sp>
            <p:nvSpPr>
              <p:cNvPr id="60" name="Flowchart: Connector 59">
                <a:extLst>
                  <a:ext uri="{FF2B5EF4-FFF2-40B4-BE49-F238E27FC236}">
                    <a16:creationId xmlns:a16="http://schemas.microsoft.com/office/drawing/2014/main" id="{FC2D53F2-42E8-4022-823F-CFA8C590530F}"/>
                  </a:ext>
                </a:extLst>
              </p:cNvPr>
              <p:cNvSpPr/>
              <p:nvPr/>
            </p:nvSpPr>
            <p:spPr bwMode="auto">
              <a:xfrm>
                <a:off x="5689600" y="4792663"/>
                <a:ext cx="612648" cy="612648"/>
              </a:xfrm>
              <a:prstGeom prst="flowChartConnector">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IN"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1" name="Group 60">
                <a:extLst>
                  <a:ext uri="{FF2B5EF4-FFF2-40B4-BE49-F238E27FC236}">
                    <a16:creationId xmlns:a16="http://schemas.microsoft.com/office/drawing/2014/main" id="{6168601E-2F53-4257-BEF2-854E3FE8C20C}"/>
                  </a:ext>
                </a:extLst>
              </p:cNvPr>
              <p:cNvGrpSpPr/>
              <p:nvPr/>
            </p:nvGrpSpPr>
            <p:grpSpPr>
              <a:xfrm>
                <a:off x="5759400" y="4901486"/>
                <a:ext cx="473049" cy="395002"/>
                <a:chOff x="6948964" y="3789361"/>
                <a:chExt cx="343733" cy="287021"/>
              </a:xfrm>
            </p:grpSpPr>
            <p:sp>
              <p:nvSpPr>
                <p:cNvPr id="62" name="Arrow: Chevron 61">
                  <a:extLst>
                    <a:ext uri="{FF2B5EF4-FFF2-40B4-BE49-F238E27FC236}">
                      <a16:creationId xmlns:a16="http://schemas.microsoft.com/office/drawing/2014/main" id="{1D57D680-DBD2-44A0-970A-080AF7CA9A5B}"/>
                    </a:ext>
                  </a:extLst>
                </p:cNvPr>
                <p:cNvSpPr/>
                <p:nvPr/>
              </p:nvSpPr>
              <p:spPr bwMode="auto">
                <a:xfrm>
                  <a:off x="6948964" y="3815239"/>
                  <a:ext cx="235268" cy="235266"/>
                </a:xfrm>
                <a:prstGeom prst="chevron">
                  <a:avLst>
                    <a:gd name="adj" fmla="val 47543"/>
                  </a:avLst>
                </a:prstGeom>
                <a:solidFill>
                  <a:srgbClr val="3C3C41">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IN"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Arrow: Chevron 62">
                  <a:extLst>
                    <a:ext uri="{FF2B5EF4-FFF2-40B4-BE49-F238E27FC236}">
                      <a16:creationId xmlns:a16="http://schemas.microsoft.com/office/drawing/2014/main" id="{803C03DB-456A-4618-BB99-25CC07AEFEC3}"/>
                    </a:ext>
                  </a:extLst>
                </p:cNvPr>
                <p:cNvSpPr/>
                <p:nvPr/>
              </p:nvSpPr>
              <p:spPr bwMode="auto">
                <a:xfrm>
                  <a:off x="7005676" y="3789361"/>
                  <a:ext cx="287021" cy="287021"/>
                </a:xfrm>
                <a:prstGeom prst="chevron">
                  <a:avLst>
                    <a:gd name="adj" fmla="val 47543"/>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IN"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70" name="Group 69">
            <a:extLst>
              <a:ext uri="{FF2B5EF4-FFF2-40B4-BE49-F238E27FC236}">
                <a16:creationId xmlns:a16="http://schemas.microsoft.com/office/drawing/2014/main" id="{9D2B775E-6B18-4522-B4EE-18A1EB4CC6B6}"/>
              </a:ext>
            </a:extLst>
          </p:cNvPr>
          <p:cNvGrpSpPr/>
          <p:nvPr/>
        </p:nvGrpSpPr>
        <p:grpSpPr>
          <a:xfrm>
            <a:off x="6198962" y="2356765"/>
            <a:ext cx="2784411" cy="1849662"/>
            <a:chOff x="6316880" y="1447800"/>
            <a:chExt cx="2730063" cy="754063"/>
          </a:xfrm>
        </p:grpSpPr>
        <p:cxnSp>
          <p:nvCxnSpPr>
            <p:cNvPr id="71" name="Straight Connector 70">
              <a:extLst>
                <a:ext uri="{FF2B5EF4-FFF2-40B4-BE49-F238E27FC236}">
                  <a16:creationId xmlns:a16="http://schemas.microsoft.com/office/drawing/2014/main" id="{F6B596BB-471E-4D5D-91EC-C85679674E13}"/>
                </a:ext>
              </a:extLst>
            </p:cNvPr>
            <p:cNvCxnSpPr>
              <a:cxnSpLocks/>
            </p:cNvCxnSpPr>
            <p:nvPr/>
          </p:nvCxnSpPr>
          <p:spPr>
            <a:xfrm>
              <a:off x="6316880" y="1447800"/>
              <a:ext cx="0" cy="754063"/>
            </a:xfrm>
            <a:prstGeom prst="line">
              <a:avLst/>
            </a:prstGeom>
            <a:noFill/>
            <a:ln w="6350" cap="flat" cmpd="sng" algn="ctr">
              <a:solidFill>
                <a:srgbClr val="FFFFFF">
                  <a:lumMod val="75000"/>
                </a:srgbClr>
              </a:solidFill>
              <a:prstDash val="dash"/>
              <a:headEnd type="none"/>
              <a:tailEnd type="diamond"/>
            </a:ln>
            <a:effectLst/>
          </p:spPr>
        </p:cxnSp>
        <p:cxnSp>
          <p:nvCxnSpPr>
            <p:cNvPr id="72" name="Straight Connector 71">
              <a:extLst>
                <a:ext uri="{FF2B5EF4-FFF2-40B4-BE49-F238E27FC236}">
                  <a16:creationId xmlns:a16="http://schemas.microsoft.com/office/drawing/2014/main" id="{2D2FC33F-BE53-463E-ACCB-235D418DF0BF}"/>
                </a:ext>
              </a:extLst>
            </p:cNvPr>
            <p:cNvCxnSpPr>
              <a:cxnSpLocks/>
            </p:cNvCxnSpPr>
            <p:nvPr/>
          </p:nvCxnSpPr>
          <p:spPr>
            <a:xfrm>
              <a:off x="9046943" y="1447800"/>
              <a:ext cx="0" cy="754063"/>
            </a:xfrm>
            <a:prstGeom prst="line">
              <a:avLst/>
            </a:prstGeom>
            <a:noFill/>
            <a:ln w="6350" cap="flat" cmpd="sng" algn="ctr">
              <a:solidFill>
                <a:srgbClr val="FFFFFF">
                  <a:lumMod val="75000"/>
                </a:srgbClr>
              </a:solidFill>
              <a:prstDash val="dash"/>
              <a:headEnd type="none"/>
              <a:tailEnd type="diamond"/>
            </a:ln>
            <a:effectLst/>
          </p:spPr>
        </p:cxnSp>
      </p:grpSp>
      <p:grpSp>
        <p:nvGrpSpPr>
          <p:cNvPr id="73" name="Group 72">
            <a:extLst>
              <a:ext uri="{FF2B5EF4-FFF2-40B4-BE49-F238E27FC236}">
                <a16:creationId xmlns:a16="http://schemas.microsoft.com/office/drawing/2014/main" id="{51569CBD-A3FD-4CD4-A316-C07E77AC0497}"/>
              </a:ext>
            </a:extLst>
          </p:cNvPr>
          <p:cNvGrpSpPr/>
          <p:nvPr/>
        </p:nvGrpSpPr>
        <p:grpSpPr>
          <a:xfrm>
            <a:off x="3174323" y="4665041"/>
            <a:ext cx="8817636" cy="672851"/>
            <a:chOff x="3606800" y="5569857"/>
            <a:chExt cx="8150225" cy="754063"/>
          </a:xfrm>
        </p:grpSpPr>
        <p:sp>
          <p:nvSpPr>
            <p:cNvPr id="74" name="Rectangle 73">
              <a:extLst>
                <a:ext uri="{FF2B5EF4-FFF2-40B4-BE49-F238E27FC236}">
                  <a16:creationId xmlns:a16="http://schemas.microsoft.com/office/drawing/2014/main" id="{32D230E9-02A0-46EF-94AE-3E8A5FC10CBF}"/>
                </a:ext>
              </a:extLst>
            </p:cNvPr>
            <p:cNvSpPr/>
            <p:nvPr/>
          </p:nvSpPr>
          <p:spPr bwMode="auto">
            <a:xfrm>
              <a:off x="3606800" y="5569857"/>
              <a:ext cx="2690097" cy="7540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Managed vs Unmanaged</a:t>
              </a:r>
            </a:p>
          </p:txBody>
        </p:sp>
        <p:sp>
          <p:nvSpPr>
            <p:cNvPr id="75" name="Rectangle 74">
              <a:extLst>
                <a:ext uri="{FF2B5EF4-FFF2-40B4-BE49-F238E27FC236}">
                  <a16:creationId xmlns:a16="http://schemas.microsoft.com/office/drawing/2014/main" id="{5EC45CCC-0367-44A2-BBA2-5B756AE385C1}"/>
                </a:ext>
              </a:extLst>
            </p:cNvPr>
            <p:cNvSpPr/>
            <p:nvPr/>
          </p:nvSpPr>
          <p:spPr bwMode="auto">
            <a:xfrm>
              <a:off x="6336863" y="5569857"/>
              <a:ext cx="2690097" cy="7540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Learn ALM best practices</a:t>
              </a:r>
            </a:p>
          </p:txBody>
        </p:sp>
        <p:sp>
          <p:nvSpPr>
            <p:cNvPr id="76" name="Rectangle 75">
              <a:extLst>
                <a:ext uri="{FF2B5EF4-FFF2-40B4-BE49-F238E27FC236}">
                  <a16:creationId xmlns:a16="http://schemas.microsoft.com/office/drawing/2014/main" id="{674C1D06-B2EC-4466-A339-50F2DC707F00}"/>
                </a:ext>
              </a:extLst>
            </p:cNvPr>
            <p:cNvSpPr/>
            <p:nvPr/>
          </p:nvSpPr>
          <p:spPr bwMode="auto">
            <a:xfrm>
              <a:off x="9066928" y="5569857"/>
              <a:ext cx="2690097" cy="7540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Automate ALM using</a:t>
              </a:r>
              <a:br>
                <a:rPr kumimoji="0" lang="en-US" sz="1428" b="0" i="0" u="none" strike="noStrike" kern="0" cap="none" spc="0" normalizeH="0" baseline="0" noProof="0">
                  <a:ln>
                    <a:noFill/>
                  </a:ln>
                  <a:solidFill>
                    <a:srgbClr val="3C3C41"/>
                  </a:solidFill>
                  <a:effectLst/>
                  <a:uLnTx/>
                  <a:uFillTx/>
                  <a:latin typeface="Segoe UI"/>
                  <a:ea typeface="+mn-ea"/>
                  <a:cs typeface="+mn-cs"/>
                </a:rPr>
              </a:br>
              <a:r>
                <a:rPr kumimoji="0" lang="en-US" sz="1428" b="0" i="0" u="none" strike="noStrike" kern="0" cap="none" spc="0" normalizeH="0" baseline="0" noProof="0">
                  <a:ln>
                    <a:noFill/>
                  </a:ln>
                  <a:solidFill>
                    <a:srgbClr val="3C3C41"/>
                  </a:solidFill>
                  <a:effectLst/>
                  <a:uLnTx/>
                  <a:uFillTx/>
                  <a:latin typeface="Segoe UI"/>
                  <a:ea typeface="+mn-ea"/>
                  <a:cs typeface="+mn-cs"/>
                </a:rPr>
                <a:t>Azure DevOps</a:t>
              </a:r>
            </a:p>
          </p:txBody>
        </p:sp>
      </p:grpSp>
      <p:grpSp>
        <p:nvGrpSpPr>
          <p:cNvPr id="77" name="Group 76">
            <a:extLst>
              <a:ext uri="{FF2B5EF4-FFF2-40B4-BE49-F238E27FC236}">
                <a16:creationId xmlns:a16="http://schemas.microsoft.com/office/drawing/2014/main" id="{317EB01F-F22A-479C-8697-23751A1953EC}"/>
              </a:ext>
            </a:extLst>
          </p:cNvPr>
          <p:cNvGrpSpPr/>
          <p:nvPr/>
        </p:nvGrpSpPr>
        <p:grpSpPr>
          <a:xfrm>
            <a:off x="883" y="4636763"/>
            <a:ext cx="3631627" cy="729407"/>
            <a:chOff x="1" y="4546259"/>
            <a:chExt cx="3560742" cy="715170"/>
          </a:xfrm>
        </p:grpSpPr>
        <p:sp>
          <p:nvSpPr>
            <p:cNvPr id="78" name="Freeform: Shape 77">
              <a:extLst>
                <a:ext uri="{FF2B5EF4-FFF2-40B4-BE49-F238E27FC236}">
                  <a16:creationId xmlns:a16="http://schemas.microsoft.com/office/drawing/2014/main" id="{CE2CB99C-8874-4039-A6CA-CE2A2E00B0C0}"/>
                </a:ext>
              </a:extLst>
            </p:cNvPr>
            <p:cNvSpPr/>
            <p:nvPr/>
          </p:nvSpPr>
          <p:spPr bwMode="auto">
            <a:xfrm>
              <a:off x="1" y="4546259"/>
              <a:ext cx="3560742" cy="715170"/>
            </a:xfrm>
            <a:custGeom>
              <a:avLst/>
              <a:gdLst>
                <a:gd name="connsiteX0" fmla="*/ 0 w 3560742"/>
                <a:gd name="connsiteY0" fmla="*/ 0 h 715170"/>
                <a:gd name="connsiteX1" fmla="*/ 3560742 w 3560742"/>
                <a:gd name="connsiteY1" fmla="*/ 0 h 715170"/>
                <a:gd name="connsiteX2" fmla="*/ 2845572 w 3560742"/>
                <a:gd name="connsiteY2" fmla="*/ 715170 h 715170"/>
                <a:gd name="connsiteX3" fmla="*/ 0 w 3560742"/>
                <a:gd name="connsiteY3" fmla="*/ 715170 h 715170"/>
              </a:gdLst>
              <a:ahLst/>
              <a:cxnLst>
                <a:cxn ang="0">
                  <a:pos x="connsiteX0" y="connsiteY0"/>
                </a:cxn>
                <a:cxn ang="0">
                  <a:pos x="connsiteX1" y="connsiteY1"/>
                </a:cxn>
                <a:cxn ang="0">
                  <a:pos x="connsiteX2" y="connsiteY2"/>
                </a:cxn>
                <a:cxn ang="0">
                  <a:pos x="connsiteX3" y="connsiteY3"/>
                </a:cxn>
              </a:cxnLst>
              <a:rect l="l" t="t" r="r" b="b"/>
              <a:pathLst>
                <a:path w="3560742" h="715170">
                  <a:moveTo>
                    <a:pt x="0" y="0"/>
                  </a:moveTo>
                  <a:lnTo>
                    <a:pt x="3560742" y="0"/>
                  </a:lnTo>
                  <a:lnTo>
                    <a:pt x="2845572" y="715170"/>
                  </a:lnTo>
                  <a:lnTo>
                    <a:pt x="0" y="715170"/>
                  </a:lnTo>
                  <a:close/>
                </a:path>
              </a:pathLst>
            </a:cu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79" name="Rectangle 78">
              <a:extLst>
                <a:ext uri="{FF2B5EF4-FFF2-40B4-BE49-F238E27FC236}">
                  <a16:creationId xmlns:a16="http://schemas.microsoft.com/office/drawing/2014/main" id="{0C0730FF-7B23-494D-B6DF-49B8C56EBE45}"/>
                </a:ext>
              </a:extLst>
            </p:cNvPr>
            <p:cNvSpPr/>
            <p:nvPr/>
          </p:nvSpPr>
          <p:spPr bwMode="auto">
            <a:xfrm>
              <a:off x="457200" y="4660900"/>
              <a:ext cx="2260600" cy="485888"/>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r>
                <a:rPr kumimoji="0" lang="en-IN" sz="1836" b="0" i="0" u="none" strike="noStrike" kern="0" cap="none" spc="0" normalizeH="0" baseline="0" noProof="0">
                  <a:ln>
                    <a:noFill/>
                  </a:ln>
                  <a:solidFill>
                    <a:srgbClr val="000000"/>
                  </a:solidFill>
                  <a:effectLst/>
                  <a:uLnTx/>
                  <a:uFillTx/>
                  <a:latin typeface="Segoe UI Semibold"/>
                  <a:ea typeface="+mn-ea"/>
                  <a:cs typeface="Segoe UI" pitchFamily="34" charset="0"/>
                </a:rPr>
                <a:t>Application Lifecycle</a:t>
              </a:r>
            </a:p>
          </p:txBody>
        </p:sp>
      </p:grpSp>
      <p:grpSp>
        <p:nvGrpSpPr>
          <p:cNvPr id="80" name="Group 79">
            <a:extLst>
              <a:ext uri="{FF2B5EF4-FFF2-40B4-BE49-F238E27FC236}">
                <a16:creationId xmlns:a16="http://schemas.microsoft.com/office/drawing/2014/main" id="{827C4F8C-A134-408A-929E-AC852102E8E5}"/>
              </a:ext>
            </a:extLst>
          </p:cNvPr>
          <p:cNvGrpSpPr/>
          <p:nvPr/>
        </p:nvGrpSpPr>
        <p:grpSpPr>
          <a:xfrm>
            <a:off x="3174323" y="5714220"/>
            <a:ext cx="8817636" cy="672851"/>
            <a:chOff x="3606800" y="5569857"/>
            <a:chExt cx="8150225" cy="754063"/>
          </a:xfrm>
        </p:grpSpPr>
        <p:sp>
          <p:nvSpPr>
            <p:cNvPr id="81" name="Rectangle 80">
              <a:extLst>
                <a:ext uri="{FF2B5EF4-FFF2-40B4-BE49-F238E27FC236}">
                  <a16:creationId xmlns:a16="http://schemas.microsoft.com/office/drawing/2014/main" id="{F93BA5BE-10B6-4C9D-90BE-6872A27C80A5}"/>
                </a:ext>
              </a:extLst>
            </p:cNvPr>
            <p:cNvSpPr/>
            <p:nvPr/>
          </p:nvSpPr>
          <p:spPr bwMode="auto">
            <a:xfrm>
              <a:off x="3606800" y="5569857"/>
              <a:ext cx="2690097" cy="7540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Establish a Center</a:t>
              </a:r>
              <a:br>
                <a:rPr kumimoji="0" lang="en-US" sz="1428" b="0" i="0" u="none" strike="noStrike" kern="0" cap="none" spc="0" normalizeH="0" baseline="0" noProof="0">
                  <a:ln>
                    <a:noFill/>
                  </a:ln>
                  <a:solidFill>
                    <a:srgbClr val="3C3C41"/>
                  </a:solidFill>
                  <a:effectLst/>
                  <a:uLnTx/>
                  <a:uFillTx/>
                  <a:latin typeface="Segoe UI"/>
                  <a:ea typeface="+mn-ea"/>
                  <a:cs typeface="+mn-cs"/>
                </a:rPr>
              </a:br>
              <a:r>
                <a:rPr kumimoji="0" lang="en-US" sz="1428" b="0" i="0" u="none" strike="noStrike" kern="0" cap="none" spc="0" normalizeH="0" baseline="0" noProof="0">
                  <a:ln>
                    <a:noFill/>
                  </a:ln>
                  <a:solidFill>
                    <a:srgbClr val="3C3C41"/>
                  </a:solidFill>
                  <a:effectLst/>
                  <a:uLnTx/>
                  <a:uFillTx/>
                  <a:latin typeface="Segoe UI"/>
                  <a:ea typeface="+mn-ea"/>
                  <a:cs typeface="+mn-cs"/>
                </a:rPr>
                <a:t>of Excellence</a:t>
              </a:r>
            </a:p>
          </p:txBody>
        </p:sp>
        <p:sp>
          <p:nvSpPr>
            <p:cNvPr id="82" name="Rectangle 81">
              <a:extLst>
                <a:ext uri="{FF2B5EF4-FFF2-40B4-BE49-F238E27FC236}">
                  <a16:creationId xmlns:a16="http://schemas.microsoft.com/office/drawing/2014/main" id="{179422EE-9043-4F7D-9FF5-C639059C76E2}"/>
                </a:ext>
              </a:extLst>
            </p:cNvPr>
            <p:cNvSpPr/>
            <p:nvPr/>
          </p:nvSpPr>
          <p:spPr bwMode="auto">
            <a:xfrm>
              <a:off x="6336863" y="5569857"/>
              <a:ext cx="2690097" cy="7540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Educate new makers</a:t>
              </a:r>
            </a:p>
          </p:txBody>
        </p:sp>
        <p:sp>
          <p:nvSpPr>
            <p:cNvPr id="83" name="Rectangle 82">
              <a:extLst>
                <a:ext uri="{FF2B5EF4-FFF2-40B4-BE49-F238E27FC236}">
                  <a16:creationId xmlns:a16="http://schemas.microsoft.com/office/drawing/2014/main" id="{93FA7AC3-C1F6-471B-8794-267A6BF40AAB}"/>
                </a:ext>
              </a:extLst>
            </p:cNvPr>
            <p:cNvSpPr/>
            <p:nvPr/>
          </p:nvSpPr>
          <p:spPr bwMode="auto">
            <a:xfrm>
              <a:off x="9066928" y="5569857"/>
              <a:ext cx="2690097" cy="7540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Foster best practices</a:t>
              </a:r>
            </a:p>
          </p:txBody>
        </p:sp>
      </p:grpSp>
      <p:grpSp>
        <p:nvGrpSpPr>
          <p:cNvPr id="84" name="Group 83">
            <a:extLst>
              <a:ext uri="{FF2B5EF4-FFF2-40B4-BE49-F238E27FC236}">
                <a16:creationId xmlns:a16="http://schemas.microsoft.com/office/drawing/2014/main" id="{39B2BCE8-3101-42D3-9247-764CB9BB6120}"/>
              </a:ext>
            </a:extLst>
          </p:cNvPr>
          <p:cNvGrpSpPr/>
          <p:nvPr/>
        </p:nvGrpSpPr>
        <p:grpSpPr>
          <a:xfrm>
            <a:off x="883" y="5685942"/>
            <a:ext cx="3631627" cy="729407"/>
            <a:chOff x="1" y="5574959"/>
            <a:chExt cx="3560742" cy="715170"/>
          </a:xfrm>
        </p:grpSpPr>
        <p:sp>
          <p:nvSpPr>
            <p:cNvPr id="85" name="Freeform: Shape 84">
              <a:extLst>
                <a:ext uri="{FF2B5EF4-FFF2-40B4-BE49-F238E27FC236}">
                  <a16:creationId xmlns:a16="http://schemas.microsoft.com/office/drawing/2014/main" id="{F0615DD2-F3D1-4EC5-9C37-134EA0770EC2}"/>
                </a:ext>
              </a:extLst>
            </p:cNvPr>
            <p:cNvSpPr/>
            <p:nvPr/>
          </p:nvSpPr>
          <p:spPr bwMode="auto">
            <a:xfrm>
              <a:off x="1" y="5574959"/>
              <a:ext cx="3560742" cy="715170"/>
            </a:xfrm>
            <a:custGeom>
              <a:avLst/>
              <a:gdLst>
                <a:gd name="connsiteX0" fmla="*/ 0 w 3560742"/>
                <a:gd name="connsiteY0" fmla="*/ 0 h 715170"/>
                <a:gd name="connsiteX1" fmla="*/ 3560742 w 3560742"/>
                <a:gd name="connsiteY1" fmla="*/ 0 h 715170"/>
                <a:gd name="connsiteX2" fmla="*/ 2845572 w 3560742"/>
                <a:gd name="connsiteY2" fmla="*/ 715170 h 715170"/>
                <a:gd name="connsiteX3" fmla="*/ 0 w 3560742"/>
                <a:gd name="connsiteY3" fmla="*/ 715170 h 715170"/>
              </a:gdLst>
              <a:ahLst/>
              <a:cxnLst>
                <a:cxn ang="0">
                  <a:pos x="connsiteX0" y="connsiteY0"/>
                </a:cxn>
                <a:cxn ang="0">
                  <a:pos x="connsiteX1" y="connsiteY1"/>
                </a:cxn>
                <a:cxn ang="0">
                  <a:pos x="connsiteX2" y="connsiteY2"/>
                </a:cxn>
                <a:cxn ang="0">
                  <a:pos x="connsiteX3" y="connsiteY3"/>
                </a:cxn>
              </a:cxnLst>
              <a:rect l="l" t="t" r="r" b="b"/>
              <a:pathLst>
                <a:path w="3560742" h="715170">
                  <a:moveTo>
                    <a:pt x="0" y="0"/>
                  </a:moveTo>
                  <a:lnTo>
                    <a:pt x="3560742" y="0"/>
                  </a:lnTo>
                  <a:lnTo>
                    <a:pt x="2845572" y="715170"/>
                  </a:lnTo>
                  <a:lnTo>
                    <a:pt x="0" y="715170"/>
                  </a:lnTo>
                  <a:close/>
                </a:path>
              </a:pathLst>
            </a:cu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86" name="Rectangle 85">
              <a:extLst>
                <a:ext uri="{FF2B5EF4-FFF2-40B4-BE49-F238E27FC236}">
                  <a16:creationId xmlns:a16="http://schemas.microsoft.com/office/drawing/2014/main" id="{CEC2AFAE-C2F2-4AE8-BEA3-0FDA474F5837}"/>
                </a:ext>
              </a:extLst>
            </p:cNvPr>
            <p:cNvSpPr/>
            <p:nvPr/>
          </p:nvSpPr>
          <p:spPr bwMode="auto">
            <a:xfrm>
              <a:off x="457200" y="5689600"/>
              <a:ext cx="2260600" cy="485888"/>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r>
                <a:rPr kumimoji="0" lang="en-IN" sz="1836" b="0" i="0" u="none" strike="noStrike" kern="0" cap="none" spc="0" normalizeH="0" baseline="0" noProof="0">
                  <a:ln>
                    <a:noFill/>
                  </a:ln>
                  <a:solidFill>
                    <a:srgbClr val="000000"/>
                  </a:solidFill>
                  <a:effectLst/>
                  <a:uLnTx/>
                  <a:uFillTx/>
                  <a:latin typeface="Segoe UI Semibold"/>
                  <a:ea typeface="+mn-ea"/>
                  <a:cs typeface="Segoe UI" pitchFamily="34" charset="0"/>
                </a:rPr>
                <a:t>Nurture and educate</a:t>
              </a:r>
            </a:p>
          </p:txBody>
        </p:sp>
      </p:grpSp>
      <p:sp>
        <p:nvSpPr>
          <p:cNvPr id="3" name="Footer Placeholder 4">
            <a:extLst>
              <a:ext uri="{FF2B5EF4-FFF2-40B4-BE49-F238E27FC236}">
                <a16:creationId xmlns:a16="http://schemas.microsoft.com/office/drawing/2014/main" id="{D9A5B43D-9A7F-89CC-3AFF-0336B0D73E0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70294429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500"/>
                                        <p:tgtEl>
                                          <p:spTgt spid="7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wipe(left)">
                                      <p:cBhvr>
                                        <p:cTn id="11" dur="500"/>
                                        <p:tgtEl>
                                          <p:spTgt spid="4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3"/>
                                        </p:tgtEl>
                                        <p:attrNameLst>
                                          <p:attrName>style.visibility</p:attrName>
                                        </p:attrNameLst>
                                      </p:cBhvr>
                                      <p:to>
                                        <p:strVal val="visible"/>
                                      </p:to>
                                    </p:set>
                                    <p:animEffect transition="in" filter="fade">
                                      <p:cBhvr>
                                        <p:cTn id="15" dur="500"/>
                                        <p:tgtEl>
                                          <p:spTgt spid="73"/>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wipe(left)">
                                      <p:cBhvr>
                                        <p:cTn id="19" dur="500"/>
                                        <p:tgtEl>
                                          <p:spTgt spid="84"/>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0"/>
                                        </p:tgtEl>
                                        <p:attrNameLst>
                                          <p:attrName>style.visibility</p:attrName>
                                        </p:attrNameLst>
                                      </p:cBhvr>
                                      <p:to>
                                        <p:strVal val="visible"/>
                                      </p:to>
                                    </p:set>
                                    <p:animEffect transition="in" filter="fade">
                                      <p:cBhvr>
                                        <p:cTn id="27"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199" y="3811417"/>
            <a:ext cx="10824029" cy="1538883"/>
          </a:xfrm>
        </p:spPr>
        <p:txBody>
          <a:bodyPr/>
          <a:lstStyle/>
          <a:p>
            <a:pPr>
              <a:lnSpc>
                <a:spcPts val="6000"/>
              </a:lnSpc>
              <a:spcBef>
                <a:spcPts val="0"/>
              </a:spcBef>
            </a:pPr>
            <a:r>
              <a:rPr lang="en-US" sz="5400"/>
              <a:t>Introduction to Center of Excellence (</a:t>
            </a:r>
            <a:r>
              <a:rPr lang="en-US" sz="5400" err="1"/>
              <a:t>CoE</a:t>
            </a:r>
            <a:r>
              <a:rPr lang="en-US" sz="5400"/>
              <a:t>) Starter Kit</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085996625"/>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What is Center of Excellence Starter Kit?</a:t>
            </a:r>
          </a:p>
        </p:txBody>
      </p:sp>
      <p:sp>
        <p:nvSpPr>
          <p:cNvPr id="7" name="TextBox 6">
            <a:extLst>
              <a:ext uri="{FF2B5EF4-FFF2-40B4-BE49-F238E27FC236}">
                <a16:creationId xmlns:a16="http://schemas.microsoft.com/office/drawing/2014/main" id="{1CD8D6AA-4AAC-4316-9694-97765CB19D13}"/>
              </a:ext>
            </a:extLst>
          </p:cNvPr>
          <p:cNvSpPr txBox="1"/>
          <p:nvPr/>
        </p:nvSpPr>
        <p:spPr>
          <a:xfrm>
            <a:off x="571500" y="1362636"/>
            <a:ext cx="5964031" cy="5078313"/>
          </a:xfrm>
          <a:prstGeom prst="rect">
            <a:avLst/>
          </a:prstGeom>
          <a:noFill/>
        </p:spPr>
        <p:txBody>
          <a:bodyPr wrap="square" lIns="91440" tIns="45720" rIns="91440" bIns="45720" anchor="t">
            <a:spAutoFit/>
          </a:bodyPr>
          <a:lstStyle/>
          <a:p>
            <a:pPr marL="285750" indent="-285750">
              <a:buFont typeface="Arial"/>
              <a:buChar char="•"/>
            </a:pPr>
            <a:r>
              <a:rPr lang="en-US"/>
              <a:t>The Center of Excellence or </a:t>
            </a:r>
            <a:r>
              <a:rPr lang="en-US" err="1"/>
              <a:t>CoE</a:t>
            </a:r>
            <a:r>
              <a:rPr lang="en-US"/>
              <a:t> for short is a collection of components and tools, which</a:t>
            </a:r>
            <a:r>
              <a:rPr lang="en-FI"/>
              <a:t> are</a:t>
            </a:r>
            <a:r>
              <a:rPr lang="en-US"/>
              <a:t> designed to help you get started with developing a strategy for adopting and supporting the Power Platform. It includes a templatized implementation of best practices. </a:t>
            </a:r>
            <a:endParaRPr lang="en-US">
              <a:cs typeface="Segoe UI"/>
            </a:endParaRPr>
          </a:p>
          <a:p>
            <a:pPr marL="285750" indent="-285750">
              <a:buFont typeface="Arial"/>
              <a:buChar char="•"/>
            </a:pPr>
            <a:endParaRPr lang="en-US">
              <a:cs typeface="Segoe UI"/>
            </a:endParaRPr>
          </a:p>
          <a:p>
            <a:pPr marL="285750" indent="-285750">
              <a:buFont typeface="Arial"/>
              <a:buChar char="•"/>
            </a:pPr>
            <a:r>
              <a:rPr lang="en-US"/>
              <a:t>Adopting it can give you the </a:t>
            </a:r>
          </a:p>
          <a:p>
            <a:pPr marL="742950" lvl="1" indent="-285750">
              <a:buFont typeface="Arial"/>
              <a:buChar char="•"/>
            </a:pPr>
            <a:r>
              <a:rPr lang="en-US"/>
              <a:t>Ability to better administer the platform with a dashboard that gives you full visibility</a:t>
            </a:r>
          </a:p>
          <a:p>
            <a:pPr marL="742950" lvl="1" indent="-285750">
              <a:buFont typeface="Arial"/>
              <a:buChar char="•"/>
            </a:pPr>
            <a:r>
              <a:rPr lang="en-US"/>
              <a:t>Ability to govern with a sample audit process</a:t>
            </a:r>
          </a:p>
          <a:p>
            <a:pPr marL="742950" lvl="1" indent="-285750">
              <a:buFont typeface="Arial"/>
              <a:buChar char="•"/>
            </a:pPr>
            <a:r>
              <a:rPr lang="en-US"/>
              <a:t>Ability to nurture with template catalog to share best practices, and welcome email to welcome new makers. </a:t>
            </a:r>
            <a:endParaRPr lang="en-US">
              <a:cs typeface="Segoe UI"/>
            </a:endParaRPr>
          </a:p>
          <a:p>
            <a:pPr marL="285750" indent="-285750">
              <a:buFont typeface="Arial"/>
              <a:buChar char="•"/>
            </a:pPr>
            <a:endParaRPr lang="en-US">
              <a:cs typeface="Segoe UI"/>
            </a:endParaRPr>
          </a:p>
          <a:p>
            <a:pPr marL="285750" indent="-285750">
              <a:buFont typeface="Arial"/>
              <a:buChar char="•"/>
            </a:pPr>
            <a:r>
              <a:rPr lang="en-US"/>
              <a:t>Starter Kit might not match every organization's requirements, so we recommend that you extend the solution to fit your organization's requirements.</a:t>
            </a:r>
            <a:endParaRPr lang="en-US">
              <a:cs typeface="Segoe UI"/>
            </a:endParaRPr>
          </a:p>
        </p:txBody>
      </p:sp>
      <p:pic>
        <p:nvPicPr>
          <p:cNvPr id="6" name="Picture 5">
            <a:extLst>
              <a:ext uri="{FF2B5EF4-FFF2-40B4-BE49-F238E27FC236}">
                <a16:creationId xmlns:a16="http://schemas.microsoft.com/office/drawing/2014/main" id="{C684EF7C-2455-430F-8881-350B975CCE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49613" y="1619850"/>
            <a:ext cx="3125498" cy="1764085"/>
          </a:xfrm>
          <a:prstGeom prst="rect">
            <a:avLst/>
          </a:prstGeom>
        </p:spPr>
      </p:pic>
      <p:pic>
        <p:nvPicPr>
          <p:cNvPr id="9" name="Picture 2">
            <a:extLst>
              <a:ext uri="{FF2B5EF4-FFF2-40B4-BE49-F238E27FC236}">
                <a16:creationId xmlns:a16="http://schemas.microsoft.com/office/drawing/2014/main" id="{825EF864-E5B5-4C80-AEFA-5A78EC9A1C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3884" y="2908483"/>
            <a:ext cx="2099613" cy="225948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6AE8F15B-8D30-4741-87F7-F03CFAF0949A}"/>
              </a:ext>
            </a:extLst>
          </p:cNvPr>
          <p:cNvPicPr>
            <a:picLocks noChangeAspect="1"/>
          </p:cNvPicPr>
          <p:nvPr/>
        </p:nvPicPr>
        <p:blipFill>
          <a:blip r:embed="rId6"/>
          <a:stretch>
            <a:fillRect/>
          </a:stretch>
        </p:blipFill>
        <p:spPr>
          <a:xfrm>
            <a:off x="8947579" y="2459230"/>
            <a:ext cx="4079148" cy="1939540"/>
          </a:xfrm>
          <a:prstGeom prst="rect">
            <a:avLst/>
          </a:prstGeom>
        </p:spPr>
      </p:pic>
      <p:pic>
        <p:nvPicPr>
          <p:cNvPr id="15" name="Picture 14">
            <a:extLst>
              <a:ext uri="{FF2B5EF4-FFF2-40B4-BE49-F238E27FC236}">
                <a16:creationId xmlns:a16="http://schemas.microsoft.com/office/drawing/2014/main" id="{7DFDD6AC-C1B5-4526-B699-225C977476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54610" y="3698381"/>
            <a:ext cx="2529611" cy="2939167"/>
          </a:xfrm>
          <a:prstGeom prst="rect">
            <a:avLst/>
          </a:prstGeom>
        </p:spPr>
      </p:pic>
      <p:pic>
        <p:nvPicPr>
          <p:cNvPr id="17" name="Picture 16">
            <a:extLst>
              <a:ext uri="{FF2B5EF4-FFF2-40B4-BE49-F238E27FC236}">
                <a16:creationId xmlns:a16="http://schemas.microsoft.com/office/drawing/2014/main" id="{15685A9F-C3E3-48F2-B750-B6F88328A346}"/>
              </a:ext>
            </a:extLst>
          </p:cNvPr>
          <p:cNvPicPr>
            <a:picLocks noChangeAspect="1"/>
          </p:cNvPicPr>
          <p:nvPr/>
        </p:nvPicPr>
        <p:blipFill>
          <a:blip r:embed="rId8"/>
          <a:stretch>
            <a:fillRect/>
          </a:stretch>
        </p:blipFill>
        <p:spPr>
          <a:xfrm>
            <a:off x="8719416" y="754514"/>
            <a:ext cx="3472584" cy="1975132"/>
          </a:xfrm>
          <a:prstGeom prst="rect">
            <a:avLst/>
          </a:prstGeom>
        </p:spPr>
      </p:pic>
      <p:pic>
        <p:nvPicPr>
          <p:cNvPr id="19" name="Picture 18">
            <a:extLst>
              <a:ext uri="{FF2B5EF4-FFF2-40B4-BE49-F238E27FC236}">
                <a16:creationId xmlns:a16="http://schemas.microsoft.com/office/drawing/2014/main" id="{3449B71A-7B2C-42D4-A0F2-82CEC2C7C24D}"/>
              </a:ext>
            </a:extLst>
          </p:cNvPr>
          <p:cNvPicPr>
            <a:picLocks noChangeAspect="1"/>
          </p:cNvPicPr>
          <p:nvPr/>
        </p:nvPicPr>
        <p:blipFill>
          <a:blip r:embed="rId9"/>
          <a:stretch>
            <a:fillRect/>
          </a:stretch>
        </p:blipFill>
        <p:spPr>
          <a:xfrm>
            <a:off x="9674259" y="4434362"/>
            <a:ext cx="3724205" cy="2060303"/>
          </a:xfrm>
          <a:prstGeom prst="rect">
            <a:avLst/>
          </a:prstGeom>
        </p:spPr>
      </p:pic>
      <p:sp>
        <p:nvSpPr>
          <p:cNvPr id="3" name="Footer Placeholder 4">
            <a:extLst>
              <a:ext uri="{FF2B5EF4-FFF2-40B4-BE49-F238E27FC236}">
                <a16:creationId xmlns:a16="http://schemas.microsoft.com/office/drawing/2014/main" id="{E1B09949-F6A3-284C-B9B3-0B64C3FFAE9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610561435"/>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E83C8-1770-FBFF-E099-07D446CE80A7}"/>
              </a:ext>
            </a:extLst>
          </p:cNvPr>
          <p:cNvSpPr>
            <a:spLocks noGrp="1"/>
          </p:cNvSpPr>
          <p:nvPr>
            <p:ph type="title"/>
          </p:nvPr>
        </p:nvSpPr>
        <p:spPr>
          <a:xfrm>
            <a:off x="588263" y="457200"/>
            <a:ext cx="11018520" cy="553998"/>
          </a:xfrm>
        </p:spPr>
        <p:txBody>
          <a:bodyPr/>
          <a:lstStyle/>
          <a:p>
            <a:r>
              <a:rPr lang="en-FI" dirty="0"/>
              <a:t>Better together</a:t>
            </a:r>
            <a:endParaRPr lang="en-GB" dirty="0"/>
          </a:p>
        </p:txBody>
      </p:sp>
      <p:sp>
        <p:nvSpPr>
          <p:cNvPr id="4" name="Text Placeholder 7">
            <a:extLst>
              <a:ext uri="{FF2B5EF4-FFF2-40B4-BE49-F238E27FC236}">
                <a16:creationId xmlns:a16="http://schemas.microsoft.com/office/drawing/2014/main" id="{45345A92-AA64-F898-6C65-F7730155BBD3}"/>
              </a:ext>
            </a:extLst>
          </p:cNvPr>
          <p:cNvSpPr txBox="1">
            <a:spLocks/>
          </p:cNvSpPr>
          <p:nvPr/>
        </p:nvSpPr>
        <p:spPr>
          <a:xfrm>
            <a:off x="938952" y="4359289"/>
            <a:ext cx="10315662" cy="54168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GB" sz="1800" b="1" dirty="0"/>
              <a:t>Getting Started: Start with the out of the box </a:t>
            </a:r>
            <a:r>
              <a:rPr lang="en-GB" sz="1800" dirty="0"/>
              <a:t>Power Platform Admin Center and Managed Environments. Explore the </a:t>
            </a:r>
            <a:r>
              <a:rPr lang="en-GB" sz="1800" dirty="0" err="1"/>
              <a:t>CoE</a:t>
            </a:r>
            <a:r>
              <a:rPr lang="en-GB" sz="1800" dirty="0"/>
              <a:t> Starter Kit and adopt workflows and insights to </a:t>
            </a:r>
            <a:r>
              <a:rPr lang="en-GB" sz="1800" b="1" dirty="0"/>
              <a:t>augment your governance strategy</a:t>
            </a:r>
            <a:endParaRPr lang="en-GB" sz="1800" dirty="0"/>
          </a:p>
        </p:txBody>
      </p:sp>
      <p:sp>
        <p:nvSpPr>
          <p:cNvPr id="6" name="Text Placeholder 9">
            <a:extLst>
              <a:ext uri="{FF2B5EF4-FFF2-40B4-BE49-F238E27FC236}">
                <a16:creationId xmlns:a16="http://schemas.microsoft.com/office/drawing/2014/main" id="{9D64367E-EF6F-1612-AC36-61396954B69B}"/>
              </a:ext>
            </a:extLst>
          </p:cNvPr>
          <p:cNvSpPr txBox="1">
            <a:spLocks/>
          </p:cNvSpPr>
          <p:nvPr/>
        </p:nvSpPr>
        <p:spPr>
          <a:xfrm>
            <a:off x="938952" y="5530447"/>
            <a:ext cx="9943308" cy="73866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GB" sz="1800" b="1" dirty="0"/>
              <a:t>On Going: </a:t>
            </a:r>
            <a:r>
              <a:rPr lang="en-GB" sz="1800" dirty="0"/>
              <a:t>Follow what’s new in Managed Environments, and what innovations have been added to the COE Starter Kit (Influence by joining </a:t>
            </a:r>
            <a:r>
              <a:rPr lang="en-GB" sz="1800" dirty="0">
                <a:hlinkClick r:id="rId3"/>
              </a:rPr>
              <a:t>https://aka.ms/coeofficehours</a:t>
            </a:r>
            <a:r>
              <a:rPr lang="en-GB" sz="1800" dirty="0"/>
              <a:t>). Extend your toolbox with homegrown or 3</a:t>
            </a:r>
            <a:r>
              <a:rPr lang="en-GB" sz="1800" baseline="30000" dirty="0"/>
              <a:t>rd</a:t>
            </a:r>
            <a:r>
              <a:rPr lang="en-GB" sz="1800" dirty="0"/>
              <a:t> party solutions where needed.</a:t>
            </a:r>
          </a:p>
        </p:txBody>
      </p:sp>
      <p:sp>
        <p:nvSpPr>
          <p:cNvPr id="7" name="Rectangle: Rounded Corners 6">
            <a:extLst>
              <a:ext uri="{FF2B5EF4-FFF2-40B4-BE49-F238E27FC236}">
                <a16:creationId xmlns:a16="http://schemas.microsoft.com/office/drawing/2014/main" id="{0EFC0BFD-BB55-84D9-6B2D-1443CE32488F}"/>
              </a:ext>
            </a:extLst>
          </p:cNvPr>
          <p:cNvSpPr/>
          <p:nvPr/>
        </p:nvSpPr>
        <p:spPr bwMode="auto">
          <a:xfrm>
            <a:off x="6425487" y="1421267"/>
            <a:ext cx="4472217" cy="2652235"/>
          </a:xfrm>
          <a:prstGeom prst="roundRect">
            <a:avLst>
              <a:gd name="adj" fmla="val 8216"/>
            </a:avLst>
          </a:prstGeom>
          <a:solidFill>
            <a:schemeClr val="bg1">
              <a:lumMod val="85000"/>
            </a:schemeClr>
          </a:solidFill>
          <a:ln>
            <a:solidFill>
              <a:schemeClr val="tx1">
                <a:lumMod val="65000"/>
                <a:lumOff val="3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Calibri"/>
              </a:rPr>
              <a:t>CoE Starter Kit</a:t>
            </a:r>
          </a:p>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GB" sz="1800" b="1" i="0" u="none" strike="noStrike" kern="1200" cap="none" spc="0" normalizeH="0" baseline="0" noProof="0" dirty="0">
                <a:ln>
                  <a:noFill/>
                </a:ln>
                <a:solidFill>
                  <a:srgbClr val="000000"/>
                </a:solidFill>
                <a:effectLst/>
                <a:uLnTx/>
                <a:uFillTx/>
                <a:latin typeface="Segoe UI"/>
                <a:ea typeface="+mn-ea"/>
                <a:cs typeface="Segoe UI"/>
              </a:rPr>
              <a:t>An open-source low code reference implementation </a:t>
            </a:r>
            <a:r>
              <a:rPr kumimoji="0" lang="en-GB" sz="1800" b="0" i="0" u="none" strike="noStrike" kern="1200" cap="none" spc="0" normalizeH="0" baseline="0" noProof="0" dirty="0">
                <a:ln>
                  <a:noFill/>
                </a:ln>
                <a:solidFill>
                  <a:srgbClr val="000000"/>
                </a:solidFill>
                <a:effectLst/>
                <a:uLnTx/>
                <a:uFillTx/>
                <a:latin typeface="Segoe UI"/>
                <a:ea typeface="+mn-ea"/>
                <a:cs typeface="Segoe UI"/>
              </a:rPr>
              <a:t>of</a:t>
            </a:r>
            <a:r>
              <a:rPr kumimoji="0" lang="en-GB" sz="1800" b="1" i="0" u="none" strike="noStrike" kern="1200" cap="none" spc="0" normalizeH="0" baseline="0" noProof="0" dirty="0">
                <a:ln>
                  <a:noFill/>
                </a:ln>
                <a:solidFill>
                  <a:srgbClr val="000000"/>
                </a:solidFill>
                <a:effectLst/>
                <a:uLnTx/>
                <a:uFillTx/>
                <a:latin typeface="Segoe UI"/>
                <a:ea typeface="+mn-ea"/>
                <a:cs typeface="Segoe UI"/>
              </a:rPr>
              <a:t> </a:t>
            </a:r>
            <a:r>
              <a:rPr kumimoji="0" lang="en-GB" sz="1800" b="0" i="0" u="none" strike="noStrike" kern="1200" cap="none" spc="0" normalizeH="0" baseline="0" noProof="0" dirty="0">
                <a:ln>
                  <a:noFill/>
                </a:ln>
                <a:solidFill>
                  <a:srgbClr val="000000"/>
                </a:solidFill>
                <a:effectLst/>
                <a:uLnTx/>
                <a:uFillTx/>
                <a:latin typeface="Segoe UI"/>
                <a:ea typeface="+mn-ea"/>
                <a:cs typeface="Segoe UI"/>
              </a:rPr>
              <a:t>proven practices to get started, accelerate and nurture your Power Platform Adoption, based on years of customers experiences and feedback</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8" name="Rectangle: Rounded Corners 7">
            <a:extLst>
              <a:ext uri="{FF2B5EF4-FFF2-40B4-BE49-F238E27FC236}">
                <a16:creationId xmlns:a16="http://schemas.microsoft.com/office/drawing/2014/main" id="{C864D3D8-7405-5D1B-A8FA-A28A096F4633}"/>
              </a:ext>
            </a:extLst>
          </p:cNvPr>
          <p:cNvSpPr/>
          <p:nvPr/>
        </p:nvSpPr>
        <p:spPr bwMode="auto">
          <a:xfrm>
            <a:off x="938952" y="1421267"/>
            <a:ext cx="4503275" cy="2652235"/>
          </a:xfrm>
          <a:prstGeom prst="roundRect">
            <a:avLst>
              <a:gd name="adj" fmla="val 8216"/>
            </a:avLst>
          </a:prstGeom>
          <a:solidFill>
            <a:schemeClr val="bg1">
              <a:lumMod val="85000"/>
            </a:schemeClr>
          </a:solidFill>
          <a:ln>
            <a:solidFill>
              <a:schemeClr val="tx1">
                <a:lumMod val="65000"/>
                <a:lumOff val="3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Calibri"/>
              </a:rPr>
              <a:t>Managed Environments</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Segoe UI"/>
              </a:rPr>
              <a:t>Out of the box </a:t>
            </a:r>
            <a:r>
              <a:rPr kumimoji="0" lang="en-GB" sz="1800" b="0" i="0" u="none" strike="noStrike" kern="1200" cap="none" spc="0" normalizeH="0" baseline="0" noProof="0">
                <a:ln>
                  <a:noFill/>
                </a:ln>
                <a:solidFill>
                  <a:srgbClr val="000000"/>
                </a:solidFill>
                <a:effectLst/>
                <a:uLnTx/>
                <a:uFillTx/>
                <a:latin typeface="Segoe UI"/>
                <a:ea typeface="+mn-ea"/>
                <a:cs typeface="Segoe UI"/>
              </a:rPr>
              <a:t>governance capabilities to manage the Power Platform at scale with </a:t>
            </a:r>
            <a:r>
              <a:rPr kumimoji="0" lang="en-GB" sz="1800" b="1" i="0" u="none" strike="noStrike" kern="1200" cap="none" spc="0" normalizeH="0" baseline="0" noProof="0">
                <a:ln>
                  <a:noFill/>
                </a:ln>
                <a:solidFill>
                  <a:srgbClr val="000000"/>
                </a:solidFill>
                <a:effectLst/>
                <a:uLnTx/>
                <a:uFillTx/>
                <a:latin typeface="Segoe UI"/>
                <a:ea typeface="+mn-ea"/>
                <a:cs typeface="Segoe UI"/>
              </a:rPr>
              <a:t>more visibility</a:t>
            </a:r>
            <a:r>
              <a:rPr kumimoji="0" lang="en-GB" sz="1800" b="0" i="0" u="none" strike="noStrike" kern="1200" cap="none" spc="0" normalizeH="0" baseline="0" noProof="0">
                <a:ln>
                  <a:noFill/>
                </a:ln>
                <a:solidFill>
                  <a:srgbClr val="000000"/>
                </a:solidFill>
                <a:effectLst/>
                <a:uLnTx/>
                <a:uFillTx/>
                <a:latin typeface="Segoe UI"/>
                <a:ea typeface="+mn-ea"/>
                <a:cs typeface="Segoe UI"/>
              </a:rPr>
              <a:t>, </a:t>
            </a:r>
            <a:r>
              <a:rPr kumimoji="0" lang="en-GB" sz="1800" b="1" i="0" u="none" strike="noStrike" kern="1200" cap="none" spc="0" normalizeH="0" baseline="0" noProof="0">
                <a:ln>
                  <a:noFill/>
                </a:ln>
                <a:solidFill>
                  <a:srgbClr val="000000"/>
                </a:solidFill>
                <a:effectLst/>
                <a:uLnTx/>
                <a:uFillTx/>
                <a:latin typeface="Segoe UI"/>
                <a:ea typeface="+mn-ea"/>
                <a:cs typeface="Segoe UI"/>
              </a:rPr>
              <a:t>more control </a:t>
            </a:r>
            <a:r>
              <a:rPr kumimoji="0" lang="en-GB" sz="1800" b="0" i="0" u="none" strike="noStrike" kern="1200" cap="none" spc="0" normalizeH="0" baseline="0" noProof="0">
                <a:ln>
                  <a:noFill/>
                </a:ln>
                <a:solidFill>
                  <a:srgbClr val="000000"/>
                </a:solidFill>
                <a:effectLst/>
                <a:uLnTx/>
                <a:uFillTx/>
                <a:latin typeface="Segoe UI"/>
                <a:ea typeface="+mn-ea"/>
                <a:cs typeface="Segoe UI"/>
              </a:rPr>
              <a:t>and </a:t>
            </a:r>
            <a:r>
              <a:rPr kumimoji="0" lang="en-GB" sz="1800" b="1" i="0" u="none" strike="noStrike" kern="1200" cap="none" spc="0" normalizeH="0" baseline="0" noProof="0">
                <a:ln>
                  <a:noFill/>
                </a:ln>
                <a:solidFill>
                  <a:srgbClr val="000000"/>
                </a:solidFill>
                <a:effectLst/>
                <a:uLnTx/>
                <a:uFillTx/>
                <a:latin typeface="Segoe UI"/>
                <a:ea typeface="+mn-ea"/>
                <a:cs typeface="Segoe UI"/>
              </a:rPr>
              <a:t>less effort.</a:t>
            </a:r>
            <a:endParaRPr kumimoji="0" lang="en-GB" sz="18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a:ea typeface="+mn-ea"/>
              <a:cs typeface="Calibri"/>
            </a:endParaRPr>
          </a:p>
        </p:txBody>
      </p:sp>
      <p:sp>
        <p:nvSpPr>
          <p:cNvPr id="9" name="Cross 8" descr="Addition sign that is supposed to be linking both managed environments with CoE starter kit. Emphasizing that they are better together. ">
            <a:extLst>
              <a:ext uri="{FF2B5EF4-FFF2-40B4-BE49-F238E27FC236}">
                <a16:creationId xmlns:a16="http://schemas.microsoft.com/office/drawing/2014/main" id="{6DE0BCC5-168D-54DE-4293-BCA3908609CA}"/>
              </a:ext>
            </a:extLst>
          </p:cNvPr>
          <p:cNvSpPr/>
          <p:nvPr/>
        </p:nvSpPr>
        <p:spPr bwMode="auto">
          <a:xfrm>
            <a:off x="5680902" y="2498711"/>
            <a:ext cx="459408" cy="492443"/>
          </a:xfrm>
          <a:prstGeom prst="plus">
            <a:avLst>
              <a:gd name="adj" fmla="val 36539"/>
            </a:avLst>
          </a:prstGeom>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err="1">
              <a:ln>
                <a:noFill/>
              </a:ln>
              <a:solidFill>
                <a:srgbClr val="000000"/>
              </a:solidFill>
              <a:effectLst/>
              <a:uLnTx/>
              <a:uFillTx/>
              <a:latin typeface="Calibri"/>
              <a:ea typeface="+mn-ea"/>
              <a:cs typeface="Calibri"/>
            </a:endParaRPr>
          </a:p>
        </p:txBody>
      </p:sp>
      <p:sp>
        <p:nvSpPr>
          <p:cNvPr id="10" name="TextBox 9">
            <a:extLst>
              <a:ext uri="{FF2B5EF4-FFF2-40B4-BE49-F238E27FC236}">
                <a16:creationId xmlns:a16="http://schemas.microsoft.com/office/drawing/2014/main" id="{C3A3DD72-E56B-15D2-5600-01E4C54FAD01}"/>
              </a:ext>
            </a:extLst>
          </p:cNvPr>
          <p:cNvSpPr txBox="1"/>
          <p:nvPr/>
        </p:nvSpPr>
        <p:spPr>
          <a:xfrm>
            <a:off x="1101969" y="3662398"/>
            <a:ext cx="3118339" cy="369332"/>
          </a:xfrm>
          <a:prstGeom prst="rect">
            <a:avLst/>
          </a:prstGeom>
          <a:noFill/>
        </p:spPr>
        <p:txBody>
          <a:bodyPr wrap="square">
            <a:spAutoFit/>
          </a:bodyPr>
          <a:lstStyle/>
          <a:p>
            <a:r>
              <a:rPr lang="en-US" dirty="0">
                <a:hlinkClick r:id="rId4"/>
              </a:rPr>
              <a:t>https://aka.ms/MEGuidance</a:t>
            </a:r>
            <a:r>
              <a:rPr lang="en-US" dirty="0"/>
              <a:t> </a:t>
            </a:r>
          </a:p>
        </p:txBody>
      </p:sp>
      <p:sp>
        <p:nvSpPr>
          <p:cNvPr id="11" name="TextBox 10">
            <a:extLst>
              <a:ext uri="{FF2B5EF4-FFF2-40B4-BE49-F238E27FC236}">
                <a16:creationId xmlns:a16="http://schemas.microsoft.com/office/drawing/2014/main" id="{516EF8EE-DACB-FE78-615C-7D8002E27CF8}"/>
              </a:ext>
            </a:extLst>
          </p:cNvPr>
          <p:cNvSpPr txBox="1"/>
          <p:nvPr/>
        </p:nvSpPr>
        <p:spPr>
          <a:xfrm>
            <a:off x="6600092" y="3662398"/>
            <a:ext cx="3118339" cy="369332"/>
          </a:xfrm>
          <a:prstGeom prst="rect">
            <a:avLst/>
          </a:prstGeom>
          <a:noFill/>
        </p:spPr>
        <p:txBody>
          <a:bodyPr wrap="square">
            <a:spAutoFit/>
          </a:bodyPr>
          <a:lstStyle/>
          <a:p>
            <a:r>
              <a:rPr lang="en-US" dirty="0">
                <a:hlinkClick r:id="rId5"/>
              </a:rPr>
              <a:t>https://aka.ms/coeskme</a:t>
            </a:r>
            <a:r>
              <a:rPr lang="en-US" dirty="0"/>
              <a:t>  </a:t>
            </a:r>
          </a:p>
        </p:txBody>
      </p:sp>
    </p:spTree>
    <p:extLst>
      <p:ext uri="{BB962C8B-B14F-4D97-AF65-F5344CB8AC3E}">
        <p14:creationId xmlns:p14="http://schemas.microsoft.com/office/powerpoint/2010/main" val="344223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F5035E0D-8ECB-8766-63D7-E5B090F54316}"/>
              </a:ext>
            </a:extLst>
          </p:cNvPr>
          <p:cNvGraphicFramePr/>
          <p:nvPr/>
        </p:nvGraphicFramePr>
        <p:xfrm>
          <a:off x="116979" y="1253925"/>
          <a:ext cx="6621172" cy="50245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AF1B675E-EC47-9983-A29F-6F2CE12BC80A}"/>
              </a:ext>
            </a:extLst>
          </p:cNvPr>
          <p:cNvSpPr txBox="1"/>
          <p:nvPr/>
        </p:nvSpPr>
        <p:spPr>
          <a:xfrm>
            <a:off x="7000340" y="1449091"/>
            <a:ext cx="4696691" cy="4154984"/>
          </a:xfrm>
          <a:prstGeom prst="rect">
            <a:avLst/>
          </a:prstGeom>
          <a:noFill/>
        </p:spPr>
        <p:txBody>
          <a:bodyPr wrap="square" lIns="0" tIns="0" rIns="0" bIns="0" rtlCol="0">
            <a:spAutoFit/>
          </a:bodyPr>
          <a:lstStyle/>
          <a:p>
            <a:pPr marL="0" indent="0">
              <a:buNone/>
            </a:pPr>
            <a:r>
              <a:rPr lang="en-GB" sz="1800" b="1" dirty="0"/>
              <a:t>Start with the out of the box </a:t>
            </a:r>
            <a:r>
              <a:rPr lang="en-GB" sz="1800" dirty="0"/>
              <a:t>capabilities in Power Platform admin </a:t>
            </a:r>
            <a:r>
              <a:rPr lang="en-GB" sz="1800" dirty="0" err="1"/>
              <a:t>center</a:t>
            </a:r>
            <a:r>
              <a:rPr lang="en-GB" sz="1800" dirty="0"/>
              <a:t> and Managed Environments. </a:t>
            </a:r>
          </a:p>
          <a:p>
            <a:pPr marL="0" indent="0">
              <a:buNone/>
            </a:pPr>
            <a:r>
              <a:rPr lang="en-GB" sz="1800" dirty="0"/>
              <a:t>Those capabilities are robust in the product and fully supported. </a:t>
            </a:r>
          </a:p>
          <a:p>
            <a:pPr marL="0" indent="0">
              <a:buNone/>
            </a:pPr>
            <a:endParaRPr lang="en-GB" sz="1800" dirty="0"/>
          </a:p>
          <a:p>
            <a:pPr marL="0" indent="0">
              <a:buNone/>
            </a:pPr>
            <a:r>
              <a:rPr lang="en-GB" sz="1800" dirty="0"/>
              <a:t>And if you discover you need more capabilities to govern your tenant, see if features in the </a:t>
            </a:r>
            <a:r>
              <a:rPr lang="en-GB" sz="1800" dirty="0" err="1"/>
              <a:t>CoE</a:t>
            </a:r>
            <a:r>
              <a:rPr lang="en-GB" sz="1800" dirty="0"/>
              <a:t> Starter Kit can </a:t>
            </a:r>
            <a:r>
              <a:rPr lang="en-GB" sz="1800" b="1" dirty="0"/>
              <a:t>complement</a:t>
            </a:r>
            <a:r>
              <a:rPr lang="en-GB" sz="1800" dirty="0"/>
              <a:t> what you get out of the box.</a:t>
            </a:r>
          </a:p>
          <a:p>
            <a:pPr marL="0" indent="0">
              <a:buNone/>
            </a:pPr>
            <a:endParaRPr lang="en-GB" sz="1800" dirty="0"/>
          </a:p>
          <a:p>
            <a:pPr marL="0" indent="0">
              <a:buNone/>
            </a:pPr>
            <a:r>
              <a:rPr lang="en-GB" sz="1800" dirty="0"/>
              <a:t>If that still doesn’t meet your requirements, explore </a:t>
            </a:r>
            <a:r>
              <a:rPr lang="en-GB" sz="1800" b="1" dirty="0"/>
              <a:t>extending and customizing </a:t>
            </a:r>
            <a:r>
              <a:rPr lang="en-GB" sz="1800" dirty="0"/>
              <a:t>the </a:t>
            </a:r>
            <a:r>
              <a:rPr lang="en-GB" sz="1800" dirty="0" err="1"/>
              <a:t>CoE</a:t>
            </a:r>
            <a:r>
              <a:rPr lang="en-GB" sz="1800" dirty="0"/>
              <a:t> Starter Kit or building your own tooling from scratch. </a:t>
            </a:r>
          </a:p>
        </p:txBody>
      </p:sp>
      <p:sp>
        <p:nvSpPr>
          <p:cNvPr id="3" name="Title 1">
            <a:extLst>
              <a:ext uri="{FF2B5EF4-FFF2-40B4-BE49-F238E27FC236}">
                <a16:creationId xmlns:a16="http://schemas.microsoft.com/office/drawing/2014/main" id="{A1281EEF-F53C-8564-404F-9C29FC3A607C}"/>
              </a:ext>
            </a:extLst>
          </p:cNvPr>
          <p:cNvSpPr>
            <a:spLocks noGrp="1"/>
          </p:cNvSpPr>
          <p:nvPr>
            <p:ph type="title"/>
          </p:nvPr>
        </p:nvSpPr>
        <p:spPr>
          <a:xfrm>
            <a:off x="588263" y="457200"/>
            <a:ext cx="11018520" cy="553998"/>
          </a:xfrm>
        </p:spPr>
        <p:txBody>
          <a:bodyPr/>
          <a:lstStyle/>
          <a:p>
            <a:r>
              <a:rPr lang="en-US" dirty="0"/>
              <a:t>How to use the </a:t>
            </a:r>
            <a:r>
              <a:rPr lang="en-US" dirty="0" err="1"/>
              <a:t>CoE</a:t>
            </a:r>
            <a:r>
              <a:rPr lang="en-US" dirty="0"/>
              <a:t> Starter Kit alongside the product?</a:t>
            </a:r>
            <a:endParaRPr lang="en-GB" dirty="0"/>
          </a:p>
        </p:txBody>
      </p:sp>
    </p:spTree>
    <p:extLst>
      <p:ext uri="{BB962C8B-B14F-4D97-AF65-F5344CB8AC3E}">
        <p14:creationId xmlns:p14="http://schemas.microsoft.com/office/powerpoint/2010/main" val="411503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Building Blocks</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p:txBody>
          <a:bodyPr>
            <a:normAutofit/>
          </a:bodyPr>
          <a:lstStyle/>
          <a:p>
            <a:pPr lvl="1"/>
            <a:r>
              <a:rPr lang="en-US"/>
              <a:t>Center of Excellence Starter Kit</a:t>
            </a:r>
          </a:p>
        </p:txBody>
      </p:sp>
      <p:sp>
        <p:nvSpPr>
          <p:cNvPr id="7" name="Rectangle 6">
            <a:extLst>
              <a:ext uri="{FF2B5EF4-FFF2-40B4-BE49-F238E27FC236}">
                <a16:creationId xmlns:a16="http://schemas.microsoft.com/office/drawing/2014/main" id="{AF6FC6F3-5343-4F8D-9AA7-76692DE4EAD2}"/>
              </a:ext>
            </a:extLst>
          </p:cNvPr>
          <p:cNvSpPr/>
          <p:nvPr/>
        </p:nvSpPr>
        <p:spPr bwMode="auto">
          <a:xfrm>
            <a:off x="0" y="2963497"/>
            <a:ext cx="12192000" cy="2840482"/>
          </a:xfrm>
          <a:prstGeom prst="rect">
            <a:avLst/>
          </a:pr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000000"/>
              </a:solidFill>
              <a:effectLst/>
              <a:uLnTx/>
              <a:uFillTx/>
              <a:latin typeface="Segoe UI"/>
              <a:ea typeface="+mj-ea"/>
              <a:cs typeface="Segoe UI" pitchFamily="34" charset="0"/>
            </a:endParaRPr>
          </a:p>
        </p:txBody>
      </p:sp>
      <p:sp>
        <p:nvSpPr>
          <p:cNvPr id="8" name="Text Placeholder 2">
            <a:extLst>
              <a:ext uri="{FF2B5EF4-FFF2-40B4-BE49-F238E27FC236}">
                <a16:creationId xmlns:a16="http://schemas.microsoft.com/office/drawing/2014/main" id="{533121E9-D0AB-4970-AA89-C28892BBD692}"/>
              </a:ext>
            </a:extLst>
          </p:cNvPr>
          <p:cNvSpPr txBox="1">
            <a:spLocks/>
          </p:cNvSpPr>
          <p:nvPr/>
        </p:nvSpPr>
        <p:spPr>
          <a:xfrm>
            <a:off x="457200" y="4777441"/>
            <a:ext cx="3504656"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Admin</a:t>
            </a:r>
            <a:endParaRPr kumimoji="0" lang="en-GB" sz="18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Gain Insights into your Power Platform adoption</a:t>
            </a:r>
          </a:p>
        </p:txBody>
      </p:sp>
      <p:sp>
        <p:nvSpPr>
          <p:cNvPr id="10" name="Text Placeholder 6">
            <a:extLst>
              <a:ext uri="{FF2B5EF4-FFF2-40B4-BE49-F238E27FC236}">
                <a16:creationId xmlns:a16="http://schemas.microsoft.com/office/drawing/2014/main" id="{20A40D1B-0722-407F-A8A7-791656669826}"/>
              </a:ext>
            </a:extLst>
          </p:cNvPr>
          <p:cNvSpPr txBox="1">
            <a:spLocks/>
          </p:cNvSpPr>
          <p:nvPr/>
        </p:nvSpPr>
        <p:spPr>
          <a:xfrm>
            <a:off x="8299228" y="4777441"/>
            <a:ext cx="3475400"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Nurture</a:t>
            </a:r>
            <a:endParaRPr kumimoji="0" lang="en-GB" sz="1800" b="0"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Accelerate your adoption with a thriving community</a:t>
            </a:r>
          </a:p>
        </p:txBody>
      </p:sp>
      <p:sp>
        <p:nvSpPr>
          <p:cNvPr id="11" name="Text Placeholder 2">
            <a:extLst>
              <a:ext uri="{FF2B5EF4-FFF2-40B4-BE49-F238E27FC236}">
                <a16:creationId xmlns:a16="http://schemas.microsoft.com/office/drawing/2014/main" id="{E9B8353A-0E0B-4542-A46F-1998F3BA1701}"/>
              </a:ext>
            </a:extLst>
          </p:cNvPr>
          <p:cNvSpPr txBox="1">
            <a:spLocks/>
          </p:cNvSpPr>
          <p:nvPr/>
        </p:nvSpPr>
        <p:spPr>
          <a:xfrm>
            <a:off x="4415159" y="4777441"/>
            <a:ext cx="3430768"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Governance</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stablish Audit, Compliance and Archive processes	</a:t>
            </a:r>
          </a:p>
        </p:txBody>
      </p:sp>
      <p:cxnSp>
        <p:nvCxnSpPr>
          <p:cNvPr id="13" name="Straight Connector 12">
            <a:extLst>
              <a:ext uri="{FF2B5EF4-FFF2-40B4-BE49-F238E27FC236}">
                <a16:creationId xmlns:a16="http://schemas.microsoft.com/office/drawing/2014/main" id="{0AA81F87-2E5B-4AB0-94B6-94E27DCC9C6B}"/>
              </a:ext>
            </a:extLst>
          </p:cNvPr>
          <p:cNvCxnSpPr>
            <a:cxnSpLocks/>
          </p:cNvCxnSpPr>
          <p:nvPr/>
        </p:nvCxnSpPr>
        <p:spPr>
          <a:xfrm>
            <a:off x="4133087" y="4777442"/>
            <a:ext cx="0" cy="7934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387C564-89AA-46EB-AA0E-869323C242CD}"/>
              </a:ext>
            </a:extLst>
          </p:cNvPr>
          <p:cNvCxnSpPr>
            <a:cxnSpLocks/>
          </p:cNvCxnSpPr>
          <p:nvPr/>
        </p:nvCxnSpPr>
        <p:spPr>
          <a:xfrm>
            <a:off x="8072578" y="4777442"/>
            <a:ext cx="0" cy="79342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descr="CoE Starter Kit Dashboard - Overview">
            <a:extLst>
              <a:ext uri="{FF2B5EF4-FFF2-40B4-BE49-F238E27FC236}">
                <a16:creationId xmlns:a16="http://schemas.microsoft.com/office/drawing/2014/main" id="{27E5062A-BB43-42BE-9644-9F5B097FBC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614" y="1972353"/>
            <a:ext cx="3509384" cy="1977455"/>
          </a:xfrm>
          <a:prstGeom prst="rect">
            <a:avLst/>
          </a:prstGeom>
          <a:ln>
            <a:solidFill>
              <a:schemeClr val="bg1">
                <a:lumMod val="75000"/>
              </a:schemeClr>
            </a:solidFill>
          </a:ln>
          <a:effectLst/>
          <a:extLst>
            <a:ext uri="{909E8E84-426E-40DD-AFC4-6F175D3DCCD1}">
              <a14:hiddenFill xmlns:a14="http://schemas.microsoft.com/office/drawing/2010/main">
                <a:solidFill>
                  <a:srgbClr val="FFFFFF"/>
                </a:solidFill>
              </a14:hiddenFill>
            </a:ext>
          </a:extLst>
        </p:spPr>
      </p:pic>
      <p:grpSp>
        <p:nvGrpSpPr>
          <p:cNvPr id="19" name="Graphic 902">
            <a:extLst>
              <a:ext uri="{FF2B5EF4-FFF2-40B4-BE49-F238E27FC236}">
                <a16:creationId xmlns:a16="http://schemas.microsoft.com/office/drawing/2014/main" id="{0C099C7E-578C-4A8C-BEFB-3C5002248188}"/>
              </a:ext>
            </a:extLst>
          </p:cNvPr>
          <p:cNvGrpSpPr>
            <a:grpSpLocks noChangeAspect="1"/>
          </p:cNvGrpSpPr>
          <p:nvPr/>
        </p:nvGrpSpPr>
        <p:grpSpPr>
          <a:xfrm>
            <a:off x="551053" y="4249657"/>
            <a:ext cx="287148" cy="380983"/>
            <a:chOff x="6051644" y="3273519"/>
            <a:chExt cx="334327" cy="443579"/>
          </a:xfrm>
          <a:noFill/>
        </p:grpSpPr>
        <p:sp>
          <p:nvSpPr>
            <p:cNvPr id="20" name="Freeform: Shape 19">
              <a:extLst>
                <a:ext uri="{FF2B5EF4-FFF2-40B4-BE49-F238E27FC236}">
                  <a16:creationId xmlns:a16="http://schemas.microsoft.com/office/drawing/2014/main" id="{E04EAF6C-46C3-4240-B891-226D89071536}"/>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5AF007B9-103A-4FCF-8539-47983ED134C0}"/>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622B2BE-CE1F-4890-A18A-2BDA6A08B8EE}"/>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0EF2A9EA-9B78-4775-9DE7-408CAE8F1001}"/>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 name="Graphic 30">
            <a:extLst>
              <a:ext uri="{FF2B5EF4-FFF2-40B4-BE49-F238E27FC236}">
                <a16:creationId xmlns:a16="http://schemas.microsoft.com/office/drawing/2014/main" id="{75C9AF4C-99E3-4753-9252-1882B777977A}"/>
              </a:ext>
            </a:extLst>
          </p:cNvPr>
          <p:cNvGrpSpPr>
            <a:grpSpLocks noChangeAspect="1"/>
          </p:cNvGrpSpPr>
          <p:nvPr/>
        </p:nvGrpSpPr>
        <p:grpSpPr>
          <a:xfrm>
            <a:off x="4415159" y="4230265"/>
            <a:ext cx="445206" cy="419766"/>
            <a:chOff x="6051549" y="3340099"/>
            <a:chExt cx="576719" cy="543764"/>
          </a:xfrm>
        </p:grpSpPr>
        <p:sp>
          <p:nvSpPr>
            <p:cNvPr id="25" name="Freeform: Shape 24">
              <a:extLst>
                <a:ext uri="{FF2B5EF4-FFF2-40B4-BE49-F238E27FC236}">
                  <a16:creationId xmlns:a16="http://schemas.microsoft.com/office/drawing/2014/main" id="{8AB11EC5-2C85-4145-B284-89FDFF3AFC79}"/>
                </a:ext>
              </a:extLst>
            </p:cNvPr>
            <p:cNvSpPr/>
            <p:nvPr/>
          </p:nvSpPr>
          <p:spPr>
            <a:xfrm>
              <a:off x="6062918" y="3348502"/>
              <a:ext cx="479830" cy="521848"/>
            </a:xfrm>
            <a:custGeom>
              <a:avLst/>
              <a:gdLst>
                <a:gd name="connsiteX0" fmla="*/ 351139 w 479830"/>
                <a:gd name="connsiteY0" fmla="*/ 434352 h 521848"/>
                <a:gd name="connsiteX1" fmla="*/ 283746 w 479830"/>
                <a:gd name="connsiteY1" fmla="*/ 469285 h 521848"/>
                <a:gd name="connsiteX2" fmla="*/ 283746 w 479830"/>
                <a:gd name="connsiteY2" fmla="*/ 521849 h 521848"/>
                <a:gd name="connsiteX3" fmla="*/ 189658 w 479830"/>
                <a:gd name="connsiteY3" fmla="*/ 521849 h 521848"/>
                <a:gd name="connsiteX4" fmla="*/ 189658 w 479830"/>
                <a:gd name="connsiteY4" fmla="*/ 463023 h 521848"/>
                <a:gd name="connsiteX5" fmla="*/ 89309 w 479830"/>
                <a:gd name="connsiteY5" fmla="*/ 404198 h 521848"/>
                <a:gd name="connsiteX6" fmla="*/ 43831 w 479830"/>
                <a:gd name="connsiteY6" fmla="*/ 428091 h 521848"/>
                <a:gd name="connsiteX7" fmla="*/ 0 w 479830"/>
                <a:gd name="connsiteY7" fmla="*/ 340594 h 521848"/>
                <a:gd name="connsiteX8" fmla="*/ 43831 w 479830"/>
                <a:gd name="connsiteY8" fmla="*/ 316701 h 521848"/>
                <a:gd name="connsiteX9" fmla="*/ 32791 w 479830"/>
                <a:gd name="connsiteY9" fmla="*/ 257876 h 521848"/>
                <a:gd name="connsiteX10" fmla="*/ 43831 w 479830"/>
                <a:gd name="connsiteY10" fmla="*/ 199051 h 521848"/>
                <a:gd name="connsiteX11" fmla="*/ 0 w 479830"/>
                <a:gd name="connsiteY11" fmla="*/ 176806 h 521848"/>
                <a:gd name="connsiteX12" fmla="*/ 43831 w 479830"/>
                <a:gd name="connsiteY12" fmla="*/ 87661 h 521848"/>
                <a:gd name="connsiteX13" fmla="*/ 89309 w 479830"/>
                <a:gd name="connsiteY13" fmla="*/ 111554 h 521848"/>
                <a:gd name="connsiteX14" fmla="*/ 189658 w 479830"/>
                <a:gd name="connsiteY14" fmla="*/ 52564 h 521848"/>
                <a:gd name="connsiteX15" fmla="*/ 189658 w 479830"/>
                <a:gd name="connsiteY15" fmla="*/ 0 h 521848"/>
                <a:gd name="connsiteX16" fmla="*/ 283746 w 479830"/>
                <a:gd name="connsiteY16" fmla="*/ 0 h 521848"/>
                <a:gd name="connsiteX17" fmla="*/ 283746 w 479830"/>
                <a:gd name="connsiteY17" fmla="*/ 47785 h 521848"/>
                <a:gd name="connsiteX18" fmla="*/ 390356 w 479830"/>
                <a:gd name="connsiteY18" fmla="*/ 111389 h 521848"/>
                <a:gd name="connsiteX19" fmla="*/ 429573 w 479830"/>
                <a:gd name="connsiteY19" fmla="*/ 87497 h 521848"/>
                <a:gd name="connsiteX20" fmla="*/ 479830 w 479830"/>
                <a:gd name="connsiteY20" fmla="*/ 176641 h 521848"/>
                <a:gd name="connsiteX21" fmla="*/ 434352 w 479830"/>
                <a:gd name="connsiteY21" fmla="*/ 198886 h 521848"/>
                <a:gd name="connsiteX22" fmla="*/ 442261 w 479830"/>
                <a:gd name="connsiteY22" fmla="*/ 257711 h 521848"/>
                <a:gd name="connsiteX23" fmla="*/ 437483 w 479830"/>
                <a:gd name="connsiteY23" fmla="*/ 299070 h 521848"/>
                <a:gd name="connsiteX24" fmla="*/ 291655 w 479830"/>
                <a:gd name="connsiteY24" fmla="*/ 159175 h 521848"/>
                <a:gd name="connsiteX25" fmla="*/ 235137 w 479830"/>
                <a:gd name="connsiteY25" fmla="*/ 141708 h 521848"/>
                <a:gd name="connsiteX26" fmla="*/ 117486 w 479830"/>
                <a:gd name="connsiteY26" fmla="*/ 264138 h 521848"/>
                <a:gd name="connsiteX27" fmla="*/ 167743 w 479830"/>
                <a:gd name="connsiteY27" fmla="*/ 367617 h 52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9830" h="521848">
                  <a:moveTo>
                    <a:pt x="351139" y="434352"/>
                  </a:moveTo>
                  <a:cubicBezTo>
                    <a:pt x="333838" y="451818"/>
                    <a:pt x="305661" y="463023"/>
                    <a:pt x="283746" y="469285"/>
                  </a:cubicBezTo>
                  <a:cubicBezTo>
                    <a:pt x="283746" y="469285"/>
                    <a:pt x="283746" y="469285"/>
                    <a:pt x="283746" y="521849"/>
                  </a:cubicBezTo>
                  <a:cubicBezTo>
                    <a:pt x="283746" y="521849"/>
                    <a:pt x="283746" y="521849"/>
                    <a:pt x="189658" y="521849"/>
                  </a:cubicBezTo>
                  <a:cubicBezTo>
                    <a:pt x="189658" y="521849"/>
                    <a:pt x="189658" y="521849"/>
                    <a:pt x="189658" y="463023"/>
                  </a:cubicBezTo>
                  <a:cubicBezTo>
                    <a:pt x="150441" y="456597"/>
                    <a:pt x="117486" y="434352"/>
                    <a:pt x="89309" y="404198"/>
                  </a:cubicBezTo>
                  <a:cubicBezTo>
                    <a:pt x="89309" y="404198"/>
                    <a:pt x="89309" y="404198"/>
                    <a:pt x="43831" y="428091"/>
                  </a:cubicBezTo>
                  <a:cubicBezTo>
                    <a:pt x="43831" y="428091"/>
                    <a:pt x="43831" y="428091"/>
                    <a:pt x="0" y="340594"/>
                  </a:cubicBezTo>
                  <a:cubicBezTo>
                    <a:pt x="0" y="340594"/>
                    <a:pt x="0" y="340594"/>
                    <a:pt x="43831" y="316701"/>
                  </a:cubicBezTo>
                  <a:cubicBezTo>
                    <a:pt x="39052" y="299235"/>
                    <a:pt x="32791" y="281769"/>
                    <a:pt x="32791" y="257876"/>
                  </a:cubicBezTo>
                  <a:cubicBezTo>
                    <a:pt x="32791" y="240410"/>
                    <a:pt x="39052" y="216517"/>
                    <a:pt x="43831" y="199051"/>
                  </a:cubicBezTo>
                  <a:cubicBezTo>
                    <a:pt x="43831" y="199051"/>
                    <a:pt x="43831" y="199051"/>
                    <a:pt x="0" y="176806"/>
                  </a:cubicBezTo>
                  <a:cubicBezTo>
                    <a:pt x="0" y="176806"/>
                    <a:pt x="0" y="176806"/>
                    <a:pt x="43831" y="87661"/>
                  </a:cubicBezTo>
                  <a:cubicBezTo>
                    <a:pt x="43831" y="87661"/>
                    <a:pt x="43831" y="87661"/>
                    <a:pt x="89309" y="111554"/>
                  </a:cubicBezTo>
                  <a:cubicBezTo>
                    <a:pt x="117486" y="82883"/>
                    <a:pt x="150441" y="58990"/>
                    <a:pt x="189658" y="52564"/>
                  </a:cubicBezTo>
                  <a:cubicBezTo>
                    <a:pt x="189658" y="52564"/>
                    <a:pt x="189658" y="52564"/>
                    <a:pt x="189658" y="0"/>
                  </a:cubicBezTo>
                  <a:cubicBezTo>
                    <a:pt x="189658" y="0"/>
                    <a:pt x="189658" y="0"/>
                    <a:pt x="283746" y="0"/>
                  </a:cubicBezTo>
                  <a:cubicBezTo>
                    <a:pt x="283746" y="0"/>
                    <a:pt x="283746" y="0"/>
                    <a:pt x="283746" y="47785"/>
                  </a:cubicBezTo>
                  <a:cubicBezTo>
                    <a:pt x="322963" y="58990"/>
                    <a:pt x="362180" y="82718"/>
                    <a:pt x="390356" y="111389"/>
                  </a:cubicBezTo>
                  <a:cubicBezTo>
                    <a:pt x="390356" y="111389"/>
                    <a:pt x="390356" y="111389"/>
                    <a:pt x="429573" y="87497"/>
                  </a:cubicBezTo>
                  <a:cubicBezTo>
                    <a:pt x="429573" y="87497"/>
                    <a:pt x="429573" y="87497"/>
                    <a:pt x="479830" y="176641"/>
                  </a:cubicBezTo>
                  <a:cubicBezTo>
                    <a:pt x="479830" y="176641"/>
                    <a:pt x="479830" y="176641"/>
                    <a:pt x="434352" y="198886"/>
                  </a:cubicBezTo>
                  <a:cubicBezTo>
                    <a:pt x="440613" y="216352"/>
                    <a:pt x="442261" y="238597"/>
                    <a:pt x="442261" y="257711"/>
                  </a:cubicBezTo>
                  <a:cubicBezTo>
                    <a:pt x="442261" y="268916"/>
                    <a:pt x="442261" y="283087"/>
                    <a:pt x="437483" y="299070"/>
                  </a:cubicBezTo>
                  <a:moveTo>
                    <a:pt x="291655" y="159175"/>
                  </a:moveTo>
                  <a:cubicBezTo>
                    <a:pt x="276001" y="147970"/>
                    <a:pt x="258700" y="141708"/>
                    <a:pt x="235137" y="141708"/>
                  </a:cubicBezTo>
                  <a:cubicBezTo>
                    <a:pt x="167743" y="141708"/>
                    <a:pt x="117486" y="200534"/>
                    <a:pt x="117486" y="264138"/>
                  </a:cubicBezTo>
                  <a:cubicBezTo>
                    <a:pt x="117486" y="310275"/>
                    <a:pt x="133140" y="345208"/>
                    <a:pt x="167743" y="367617"/>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0C54780-2EC7-4667-9DB5-09080EB41CC1}"/>
                </a:ext>
              </a:extLst>
            </p:cNvPr>
            <p:cNvSpPr/>
            <p:nvPr/>
          </p:nvSpPr>
          <p:spPr>
            <a:xfrm>
              <a:off x="6267675" y="3567293"/>
              <a:ext cx="347913" cy="268692"/>
            </a:xfrm>
            <a:custGeom>
              <a:avLst/>
              <a:gdLst>
                <a:gd name="connsiteX0" fmla="*/ 122985 w 347913"/>
                <a:gd name="connsiteY0" fmla="*/ 159867 h 268692"/>
                <a:gd name="connsiteX1" fmla="*/ 281335 w 347913"/>
                <a:gd name="connsiteY1" fmla="*/ 261699 h 268692"/>
                <a:gd name="connsiteX2" fmla="*/ 340985 w 347913"/>
                <a:gd name="connsiteY2" fmla="*/ 249011 h 268692"/>
                <a:gd name="connsiteX3" fmla="*/ 328461 w 347913"/>
                <a:gd name="connsiteY3" fmla="*/ 188538 h 268692"/>
                <a:gd name="connsiteX4" fmla="*/ 166980 w 347913"/>
                <a:gd name="connsiteY4" fmla="*/ 91484 h 268692"/>
                <a:gd name="connsiteX5" fmla="*/ 163849 w 347913"/>
                <a:gd name="connsiteY5" fmla="*/ 89836 h 268692"/>
                <a:gd name="connsiteX6" fmla="*/ 162202 w 347913"/>
                <a:gd name="connsiteY6" fmla="*/ 65944 h 268692"/>
                <a:gd name="connsiteX7" fmla="*/ 64983 w 347913"/>
                <a:gd name="connsiteY7" fmla="*/ 2340 h 268692"/>
                <a:gd name="connsiteX8" fmla="*/ 22636 w 347913"/>
                <a:gd name="connsiteY8" fmla="*/ 24585 h 268692"/>
                <a:gd name="connsiteX9" fmla="*/ 99422 w 347913"/>
                <a:gd name="connsiteY9" fmla="*/ 72370 h 268692"/>
                <a:gd name="connsiteX10" fmla="*/ 80637 w 347913"/>
                <a:gd name="connsiteY10" fmla="*/ 97746 h 268692"/>
                <a:gd name="connsiteX11" fmla="*/ 6982 w 347913"/>
                <a:gd name="connsiteY11" fmla="*/ 49960 h 268692"/>
                <a:gd name="connsiteX12" fmla="*/ 2203 w 347913"/>
                <a:gd name="connsiteY12" fmla="*/ 100876 h 268692"/>
                <a:gd name="connsiteX13" fmla="*/ 99422 w 347913"/>
                <a:gd name="connsiteY13" fmla="*/ 164480 h 268692"/>
                <a:gd name="connsiteX14" fmla="*/ 119854 w 347913"/>
                <a:gd name="connsiteY14" fmla="*/ 158054 h 268692"/>
                <a:gd name="connsiteX15" fmla="*/ 122985 w 347913"/>
                <a:gd name="connsiteY15" fmla="*/ 159867 h 268692"/>
                <a:gd name="connsiteX16" fmla="*/ 122985 w 347913"/>
                <a:gd name="connsiteY16" fmla="*/ 159867 h 268692"/>
                <a:gd name="connsiteX17" fmla="*/ 122985 w 347913"/>
                <a:gd name="connsiteY17" fmla="*/ 159867 h 26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7913" h="268692">
                  <a:moveTo>
                    <a:pt x="122985" y="159867"/>
                  </a:moveTo>
                  <a:cubicBezTo>
                    <a:pt x="281335" y="261699"/>
                    <a:pt x="281335" y="261699"/>
                    <a:pt x="281335" y="261699"/>
                  </a:cubicBezTo>
                  <a:cubicBezTo>
                    <a:pt x="301768" y="274387"/>
                    <a:pt x="328461" y="269608"/>
                    <a:pt x="340985" y="249011"/>
                  </a:cubicBezTo>
                  <a:cubicBezTo>
                    <a:pt x="353508" y="229897"/>
                    <a:pt x="348894" y="202873"/>
                    <a:pt x="328461" y="188538"/>
                  </a:cubicBezTo>
                  <a:cubicBezTo>
                    <a:pt x="166980" y="91484"/>
                    <a:pt x="166980" y="91484"/>
                    <a:pt x="166980" y="91484"/>
                  </a:cubicBezTo>
                  <a:cubicBezTo>
                    <a:pt x="163849" y="89836"/>
                    <a:pt x="163849" y="89836"/>
                    <a:pt x="163849" y="89836"/>
                  </a:cubicBezTo>
                  <a:cubicBezTo>
                    <a:pt x="165497" y="81927"/>
                    <a:pt x="163849" y="73853"/>
                    <a:pt x="162202" y="65944"/>
                  </a:cubicBezTo>
                  <a:cubicBezTo>
                    <a:pt x="152809" y="21454"/>
                    <a:pt x="108814" y="-8865"/>
                    <a:pt x="64983" y="2340"/>
                  </a:cubicBezTo>
                  <a:cubicBezTo>
                    <a:pt x="49329" y="5471"/>
                    <a:pt x="33676" y="13545"/>
                    <a:pt x="22636" y="24585"/>
                  </a:cubicBezTo>
                  <a:cubicBezTo>
                    <a:pt x="99422" y="72370"/>
                    <a:pt x="99422" y="72370"/>
                    <a:pt x="99422" y="72370"/>
                  </a:cubicBezTo>
                  <a:cubicBezTo>
                    <a:pt x="80637" y="97746"/>
                    <a:pt x="80637" y="97746"/>
                    <a:pt x="80637" y="97746"/>
                  </a:cubicBezTo>
                  <a:cubicBezTo>
                    <a:pt x="6982" y="49960"/>
                    <a:pt x="6982" y="49960"/>
                    <a:pt x="6982" y="49960"/>
                  </a:cubicBezTo>
                  <a:cubicBezTo>
                    <a:pt x="720" y="65944"/>
                    <a:pt x="-2410" y="83410"/>
                    <a:pt x="2203" y="100876"/>
                  </a:cubicBezTo>
                  <a:cubicBezTo>
                    <a:pt x="11596" y="145366"/>
                    <a:pt x="53943" y="174037"/>
                    <a:pt x="99422" y="164480"/>
                  </a:cubicBezTo>
                  <a:cubicBezTo>
                    <a:pt x="105683" y="162833"/>
                    <a:pt x="113592" y="161350"/>
                    <a:pt x="119854" y="158054"/>
                  </a:cubicBezTo>
                  <a:lnTo>
                    <a:pt x="122985" y="159867"/>
                  </a:lnTo>
                  <a:lnTo>
                    <a:pt x="122985" y="159867"/>
                  </a:lnTo>
                  <a:lnTo>
                    <a:pt x="122985" y="15986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FCFD04D9-F8A1-4008-9D66-B9AA107025C3}"/>
              </a:ext>
            </a:extLst>
          </p:cNvPr>
          <p:cNvGrpSpPr>
            <a:grpSpLocks noChangeAspect="1"/>
          </p:cNvGrpSpPr>
          <p:nvPr/>
        </p:nvGrpSpPr>
        <p:grpSpPr>
          <a:xfrm>
            <a:off x="8355227" y="4279126"/>
            <a:ext cx="410033" cy="322045"/>
            <a:chOff x="2013595" y="4071821"/>
            <a:chExt cx="410033" cy="322045"/>
          </a:xfrm>
        </p:grpSpPr>
        <p:sp>
          <p:nvSpPr>
            <p:cNvPr id="28" name="Freeform: Shape 27">
              <a:extLst>
                <a:ext uri="{FF2B5EF4-FFF2-40B4-BE49-F238E27FC236}">
                  <a16:creationId xmlns:a16="http://schemas.microsoft.com/office/drawing/2014/main" id="{35B5EE4B-21B6-4ACC-A6F5-B8392F692084}"/>
                </a:ext>
              </a:extLst>
            </p:cNvPr>
            <p:cNvSpPr/>
            <p:nvPr/>
          </p:nvSpPr>
          <p:spPr>
            <a:xfrm rot="3600000">
              <a:off x="2066276" y="4119556"/>
              <a:ext cx="221629" cy="326992"/>
            </a:xfrm>
            <a:custGeom>
              <a:avLst/>
              <a:gdLst>
                <a:gd name="connsiteX0" fmla="*/ 0 w 221629"/>
                <a:gd name="connsiteY0" fmla="*/ 282959 h 326992"/>
                <a:gd name="connsiteX1" fmla="*/ 149717 w 221629"/>
                <a:gd name="connsiteY1" fmla="*/ 282959 h 326992"/>
                <a:gd name="connsiteX2" fmla="*/ 149717 w 221629"/>
                <a:gd name="connsiteY2" fmla="*/ 326992 h 326992"/>
                <a:gd name="connsiteX3" fmla="*/ 0 w 221629"/>
                <a:gd name="connsiteY3" fmla="*/ 326992 h 326992"/>
                <a:gd name="connsiteX4" fmla="*/ 208419 w 221629"/>
                <a:gd name="connsiteY4" fmla="*/ 486 h 326992"/>
                <a:gd name="connsiteX5" fmla="*/ 221629 w 221629"/>
                <a:gd name="connsiteY5" fmla="*/ 20301 h 326992"/>
                <a:gd name="connsiteX6" fmla="*/ 221629 w 221629"/>
                <a:gd name="connsiteY6" fmla="*/ 83050 h 326992"/>
                <a:gd name="connsiteX7" fmla="*/ 221629 w 221629"/>
                <a:gd name="connsiteY7" fmla="*/ 139193 h 326992"/>
                <a:gd name="connsiteX8" fmla="*/ 209519 w 221629"/>
                <a:gd name="connsiteY8" fmla="*/ 177723 h 326992"/>
                <a:gd name="connsiteX9" fmla="*/ 129158 w 221629"/>
                <a:gd name="connsiteY9" fmla="*/ 282303 h 326992"/>
                <a:gd name="connsiteX10" fmla="*/ 17971 w 221629"/>
                <a:gd name="connsiteY10" fmla="*/ 280101 h 326992"/>
                <a:gd name="connsiteX11" fmla="*/ 17971 w 221629"/>
                <a:gd name="connsiteY11" fmla="*/ 210749 h 326992"/>
                <a:gd name="connsiteX12" fmla="*/ 35584 w 221629"/>
                <a:gd name="connsiteY12" fmla="*/ 164513 h 326992"/>
                <a:gd name="connsiteX13" fmla="*/ 115947 w 221629"/>
                <a:gd name="connsiteY13" fmla="*/ 83050 h 326992"/>
                <a:gd name="connsiteX14" fmla="*/ 141266 w 221629"/>
                <a:gd name="connsiteY14" fmla="*/ 79747 h 326992"/>
                <a:gd name="connsiteX15" fmla="*/ 144570 w 221629"/>
                <a:gd name="connsiteY15" fmla="*/ 118277 h 326992"/>
                <a:gd name="connsiteX16" fmla="*/ 96132 w 221629"/>
                <a:gd name="connsiteY16" fmla="*/ 167815 h 326992"/>
                <a:gd name="connsiteX17" fmla="*/ 95030 w 221629"/>
                <a:gd name="connsiteY17" fmla="*/ 187630 h 326992"/>
                <a:gd name="connsiteX18" fmla="*/ 114846 w 221629"/>
                <a:gd name="connsiteY18" fmla="*/ 188732 h 326992"/>
                <a:gd name="connsiteX19" fmla="*/ 169889 w 221629"/>
                <a:gd name="connsiteY19" fmla="*/ 133689 h 326992"/>
                <a:gd name="connsiteX20" fmla="*/ 170990 w 221629"/>
                <a:gd name="connsiteY20" fmla="*/ 131488 h 326992"/>
                <a:gd name="connsiteX21" fmla="*/ 180897 w 221629"/>
                <a:gd name="connsiteY21" fmla="*/ 98462 h 326992"/>
                <a:gd name="connsiteX22" fmla="*/ 184200 w 221629"/>
                <a:gd name="connsiteY22" fmla="*/ 37915 h 326992"/>
                <a:gd name="connsiteX23" fmla="*/ 186402 w 221629"/>
                <a:gd name="connsiteY23" fmla="*/ 12596 h 326992"/>
                <a:gd name="connsiteX24" fmla="*/ 208419 w 221629"/>
                <a:gd name="connsiteY24" fmla="*/ 486 h 32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1629" h="326992">
                  <a:moveTo>
                    <a:pt x="0" y="282959"/>
                  </a:moveTo>
                  <a:lnTo>
                    <a:pt x="149717" y="282959"/>
                  </a:lnTo>
                  <a:lnTo>
                    <a:pt x="149717" y="326992"/>
                  </a:lnTo>
                  <a:lnTo>
                    <a:pt x="0" y="326992"/>
                  </a:lnTo>
                  <a:close/>
                  <a:moveTo>
                    <a:pt x="208419" y="486"/>
                  </a:moveTo>
                  <a:cubicBezTo>
                    <a:pt x="216125" y="1587"/>
                    <a:pt x="221629" y="10394"/>
                    <a:pt x="221629" y="20301"/>
                  </a:cubicBezTo>
                  <a:cubicBezTo>
                    <a:pt x="221629" y="41218"/>
                    <a:pt x="221629" y="62133"/>
                    <a:pt x="221629" y="83050"/>
                  </a:cubicBezTo>
                  <a:cubicBezTo>
                    <a:pt x="221629" y="101764"/>
                    <a:pt x="221629" y="120479"/>
                    <a:pt x="221629" y="139193"/>
                  </a:cubicBezTo>
                  <a:cubicBezTo>
                    <a:pt x="221629" y="153505"/>
                    <a:pt x="218326" y="165613"/>
                    <a:pt x="209519" y="177723"/>
                  </a:cubicBezTo>
                  <a:cubicBezTo>
                    <a:pt x="189704" y="201942"/>
                    <a:pt x="129158" y="282303"/>
                    <a:pt x="129158" y="282303"/>
                  </a:cubicBezTo>
                  <a:lnTo>
                    <a:pt x="17971" y="280101"/>
                  </a:lnTo>
                  <a:cubicBezTo>
                    <a:pt x="17971" y="280101"/>
                    <a:pt x="17971" y="231664"/>
                    <a:pt x="17971" y="210749"/>
                  </a:cubicBezTo>
                  <a:cubicBezTo>
                    <a:pt x="17971" y="192034"/>
                    <a:pt x="24576" y="176622"/>
                    <a:pt x="35584" y="164513"/>
                  </a:cubicBezTo>
                  <a:cubicBezTo>
                    <a:pt x="62005" y="136991"/>
                    <a:pt x="88425" y="109471"/>
                    <a:pt x="115947" y="83050"/>
                  </a:cubicBezTo>
                  <a:cubicBezTo>
                    <a:pt x="122552" y="76445"/>
                    <a:pt x="134661" y="75344"/>
                    <a:pt x="141266" y="79747"/>
                  </a:cubicBezTo>
                  <a:cubicBezTo>
                    <a:pt x="155578" y="89655"/>
                    <a:pt x="154477" y="107269"/>
                    <a:pt x="144570" y="118277"/>
                  </a:cubicBezTo>
                  <a:cubicBezTo>
                    <a:pt x="128056" y="134790"/>
                    <a:pt x="111544" y="151303"/>
                    <a:pt x="96132" y="167815"/>
                  </a:cubicBezTo>
                  <a:cubicBezTo>
                    <a:pt x="89527" y="174420"/>
                    <a:pt x="89527" y="182127"/>
                    <a:pt x="95030" y="187630"/>
                  </a:cubicBezTo>
                  <a:cubicBezTo>
                    <a:pt x="99434" y="192034"/>
                    <a:pt x="110442" y="193135"/>
                    <a:pt x="114846" y="188732"/>
                  </a:cubicBezTo>
                  <a:cubicBezTo>
                    <a:pt x="133561" y="170017"/>
                    <a:pt x="151175" y="151303"/>
                    <a:pt x="169889" y="133689"/>
                  </a:cubicBezTo>
                  <a:cubicBezTo>
                    <a:pt x="170990" y="132588"/>
                    <a:pt x="170990" y="132588"/>
                    <a:pt x="170990" y="131488"/>
                  </a:cubicBezTo>
                  <a:cubicBezTo>
                    <a:pt x="177595" y="121579"/>
                    <a:pt x="180897" y="110571"/>
                    <a:pt x="180897" y="98462"/>
                  </a:cubicBezTo>
                  <a:cubicBezTo>
                    <a:pt x="180897" y="78647"/>
                    <a:pt x="183099" y="57730"/>
                    <a:pt x="184200" y="37915"/>
                  </a:cubicBezTo>
                  <a:cubicBezTo>
                    <a:pt x="185301" y="29108"/>
                    <a:pt x="184200" y="20301"/>
                    <a:pt x="186402" y="12596"/>
                  </a:cubicBezTo>
                  <a:cubicBezTo>
                    <a:pt x="188604" y="3789"/>
                    <a:pt x="199612" y="-1716"/>
                    <a:pt x="208419" y="486"/>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EBBE0C4B-9F4C-4E03-9F9B-C6CE7515A6D6}"/>
                </a:ext>
              </a:extLst>
            </p:cNvPr>
            <p:cNvGrpSpPr/>
            <p:nvPr/>
          </p:nvGrpSpPr>
          <p:grpSpPr>
            <a:xfrm>
              <a:off x="2124123" y="4071821"/>
              <a:ext cx="299505" cy="230916"/>
              <a:chOff x="5236164" y="3478801"/>
              <a:chExt cx="124778" cy="96203"/>
            </a:xfrm>
          </p:grpSpPr>
          <p:sp>
            <p:nvSpPr>
              <p:cNvPr id="30" name="Freeform: Shape 29">
                <a:extLst>
                  <a:ext uri="{FF2B5EF4-FFF2-40B4-BE49-F238E27FC236}">
                    <a16:creationId xmlns:a16="http://schemas.microsoft.com/office/drawing/2014/main" id="{081FFAC7-314C-4D98-81FE-D81BBCEDD962}"/>
                  </a:ext>
                </a:extLst>
              </p:cNvPr>
              <p:cNvSpPr/>
              <p:nvPr/>
            </p:nvSpPr>
            <p:spPr>
              <a:xfrm>
                <a:off x="5236164" y="3478801"/>
                <a:ext cx="66675" cy="66675"/>
              </a:xfrm>
              <a:custGeom>
                <a:avLst/>
                <a:gdLst>
                  <a:gd name="connsiteX0" fmla="*/ 64498 w 66675"/>
                  <a:gd name="connsiteY0" fmla="*/ 55926 h 66675"/>
                  <a:gd name="connsiteX1" fmla="*/ 7348 w 66675"/>
                  <a:gd name="connsiteY1" fmla="*/ 7348 h 66675"/>
                  <a:gd name="connsiteX2" fmla="*/ 64498 w 66675"/>
                  <a:gd name="connsiteY2" fmla="*/ 67356 h 66675"/>
                </a:gdLst>
                <a:ahLst/>
                <a:cxnLst>
                  <a:cxn ang="0">
                    <a:pos x="connsiteX0" y="connsiteY0"/>
                  </a:cxn>
                  <a:cxn ang="0">
                    <a:pos x="connsiteX1" y="connsiteY1"/>
                  </a:cxn>
                  <a:cxn ang="0">
                    <a:pos x="connsiteX2" y="connsiteY2"/>
                  </a:cxn>
                </a:cxnLst>
                <a:rect l="l" t="t" r="r" b="b"/>
                <a:pathLst>
                  <a:path w="66675" h="66675">
                    <a:moveTo>
                      <a:pt x="64498" y="55926"/>
                    </a:moveTo>
                    <a:cubicBezTo>
                      <a:pt x="64498" y="55926"/>
                      <a:pt x="61641" y="14968"/>
                      <a:pt x="7348" y="7348"/>
                    </a:cubicBezTo>
                    <a:cubicBezTo>
                      <a:pt x="7348" y="23541"/>
                      <a:pt x="17826" y="63546"/>
                      <a:pt x="64498" y="67356"/>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EB895384-0388-4E57-A271-BCC1C4E2D7D7}"/>
                  </a:ext>
                </a:extLst>
              </p:cNvPr>
              <p:cNvSpPr/>
              <p:nvPr/>
            </p:nvSpPr>
            <p:spPr>
              <a:xfrm>
                <a:off x="5294267" y="3478801"/>
                <a:ext cx="66675" cy="66675"/>
              </a:xfrm>
              <a:custGeom>
                <a:avLst/>
                <a:gdLst>
                  <a:gd name="connsiteX0" fmla="*/ 7348 w 66675"/>
                  <a:gd name="connsiteY0" fmla="*/ 55926 h 66675"/>
                  <a:gd name="connsiteX1" fmla="*/ 64498 w 66675"/>
                  <a:gd name="connsiteY1" fmla="*/ 7348 h 66675"/>
                  <a:gd name="connsiteX2" fmla="*/ 7348 w 66675"/>
                  <a:gd name="connsiteY2" fmla="*/ 67356 h 66675"/>
                </a:gdLst>
                <a:ahLst/>
                <a:cxnLst>
                  <a:cxn ang="0">
                    <a:pos x="connsiteX0" y="connsiteY0"/>
                  </a:cxn>
                  <a:cxn ang="0">
                    <a:pos x="connsiteX1" y="connsiteY1"/>
                  </a:cxn>
                  <a:cxn ang="0">
                    <a:pos x="connsiteX2" y="connsiteY2"/>
                  </a:cxn>
                </a:cxnLst>
                <a:rect l="l" t="t" r="r" b="b"/>
                <a:pathLst>
                  <a:path w="66675" h="66675">
                    <a:moveTo>
                      <a:pt x="7348" y="55926"/>
                    </a:moveTo>
                    <a:cubicBezTo>
                      <a:pt x="7348" y="55926"/>
                      <a:pt x="10206" y="14968"/>
                      <a:pt x="64498" y="7348"/>
                    </a:cubicBezTo>
                    <a:cubicBezTo>
                      <a:pt x="64498" y="23541"/>
                      <a:pt x="54021" y="63546"/>
                      <a:pt x="7348" y="67356"/>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E598254-7695-466C-9FEF-A1C10A98F0DB}"/>
                  </a:ext>
                </a:extLst>
              </p:cNvPr>
              <p:cNvSpPr/>
              <p:nvPr/>
            </p:nvSpPr>
            <p:spPr>
              <a:xfrm>
                <a:off x="5293314" y="3527379"/>
                <a:ext cx="9525" cy="47625"/>
              </a:xfrm>
              <a:custGeom>
                <a:avLst/>
                <a:gdLst>
                  <a:gd name="connsiteX0" fmla="*/ 7348 w 9525"/>
                  <a:gd name="connsiteY0" fmla="*/ 7348 h 47625"/>
                  <a:gd name="connsiteX1" fmla="*/ 7348 w 9525"/>
                  <a:gd name="connsiteY1" fmla="*/ 47353 h 47625"/>
                </a:gdLst>
                <a:ahLst/>
                <a:cxnLst>
                  <a:cxn ang="0">
                    <a:pos x="connsiteX0" y="connsiteY0"/>
                  </a:cxn>
                  <a:cxn ang="0">
                    <a:pos x="connsiteX1" y="connsiteY1"/>
                  </a:cxn>
                </a:cxnLst>
                <a:rect l="l" t="t" r="r" b="b"/>
                <a:pathLst>
                  <a:path w="9525" h="47625">
                    <a:moveTo>
                      <a:pt x="7348" y="7348"/>
                    </a:moveTo>
                    <a:lnTo>
                      <a:pt x="7348" y="4735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pic>
        <p:nvPicPr>
          <p:cNvPr id="6" name="Picture 5">
            <a:extLst>
              <a:ext uri="{FF2B5EF4-FFF2-40B4-BE49-F238E27FC236}">
                <a16:creationId xmlns:a16="http://schemas.microsoft.com/office/drawing/2014/main" id="{CE5007F4-FB57-439F-834E-99D8F09F808B}"/>
              </a:ext>
            </a:extLst>
          </p:cNvPr>
          <p:cNvPicPr>
            <a:picLocks noChangeAspect="1"/>
          </p:cNvPicPr>
          <p:nvPr/>
        </p:nvPicPr>
        <p:blipFill>
          <a:blip r:embed="rId5"/>
          <a:stretch>
            <a:fillRect/>
          </a:stretch>
        </p:blipFill>
        <p:spPr>
          <a:xfrm>
            <a:off x="4333508" y="1972353"/>
            <a:ext cx="3502971" cy="1964815"/>
          </a:xfrm>
          <a:prstGeom prst="rect">
            <a:avLst/>
          </a:prstGeom>
        </p:spPr>
      </p:pic>
      <p:pic>
        <p:nvPicPr>
          <p:cNvPr id="48" name="Picture 47">
            <a:extLst>
              <a:ext uri="{FF2B5EF4-FFF2-40B4-BE49-F238E27FC236}">
                <a16:creationId xmlns:a16="http://schemas.microsoft.com/office/drawing/2014/main" id="{6B553936-822F-456D-9CB5-8A33BAB3F180}"/>
              </a:ext>
            </a:extLst>
          </p:cNvPr>
          <p:cNvPicPr>
            <a:picLocks noChangeAspect="1"/>
          </p:cNvPicPr>
          <p:nvPr/>
        </p:nvPicPr>
        <p:blipFill>
          <a:blip r:embed="rId6"/>
          <a:stretch>
            <a:fillRect/>
          </a:stretch>
        </p:blipFill>
        <p:spPr>
          <a:xfrm>
            <a:off x="8225416" y="1997303"/>
            <a:ext cx="3475403" cy="1969640"/>
          </a:xfrm>
          <a:prstGeom prst="rect">
            <a:avLst/>
          </a:prstGeom>
        </p:spPr>
      </p:pic>
      <p:sp>
        <p:nvSpPr>
          <p:cNvPr id="3" name="Footer Placeholder 4">
            <a:extLst>
              <a:ext uri="{FF2B5EF4-FFF2-40B4-BE49-F238E27FC236}">
                <a16:creationId xmlns:a16="http://schemas.microsoft.com/office/drawing/2014/main" id="{237C44C5-F440-4391-4DE6-686FBF291D1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914707366"/>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Admin Components - Core</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575041"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r>
              <a:rPr lang="en-FI" sz="2000">
                <a:cs typeface="Segoe UI"/>
              </a:rPr>
              <a:t>Provides </a:t>
            </a:r>
            <a:r>
              <a:rPr lang="en-US" sz="2000">
                <a:cs typeface="Segoe UI"/>
              </a:rPr>
              <a:t>the core to get started with setting up a </a:t>
            </a:r>
            <a:r>
              <a:rPr lang="en-US" sz="2000" err="1">
                <a:cs typeface="Segoe UI"/>
              </a:rPr>
              <a:t>CoE</a:t>
            </a:r>
            <a:r>
              <a:rPr lang="en-US" sz="2000">
                <a:cs typeface="Segoe UI"/>
              </a:rPr>
              <a:t> – including Sync Flows to gather information about all your resources</a:t>
            </a:r>
            <a:r>
              <a:rPr lang="en-FI" sz="2000">
                <a:cs typeface="Segoe UI"/>
              </a:rPr>
              <a:t> stored in</a:t>
            </a:r>
            <a:r>
              <a:rPr lang="en-US" sz="2000">
                <a:cs typeface="Segoe UI"/>
              </a:rPr>
              <a:t> </a:t>
            </a:r>
            <a:r>
              <a:rPr lang="en-US" sz="2000" err="1">
                <a:cs typeface="Segoe UI"/>
              </a:rPr>
              <a:t>Dataverse</a:t>
            </a:r>
            <a:r>
              <a:rPr lang="en-US" sz="2000">
                <a:cs typeface="Segoe UI"/>
              </a:rPr>
              <a:t> tables</a:t>
            </a:r>
            <a:r>
              <a:rPr lang="en-FI" sz="2000">
                <a:cs typeface="Segoe UI"/>
              </a:rPr>
              <a:t>. </a:t>
            </a:r>
            <a:r>
              <a:rPr lang="en-US" sz="2000">
                <a:cs typeface="Segoe UI"/>
              </a:rPr>
              <a:t>Apps and reports </a:t>
            </a:r>
            <a:r>
              <a:rPr lang="en-FI" sz="2000">
                <a:cs typeface="Segoe UI"/>
              </a:rPr>
              <a:t>built </a:t>
            </a:r>
            <a:r>
              <a:rPr lang="en-US" sz="2000">
                <a:cs typeface="Segoe UI"/>
              </a:rPr>
              <a:t>on top of that help</a:t>
            </a:r>
            <a:r>
              <a:rPr lang="en-FI" sz="2000">
                <a:cs typeface="Segoe UI"/>
              </a:rPr>
              <a:t>s</a:t>
            </a:r>
            <a:r>
              <a:rPr lang="en-US" sz="2000">
                <a:cs typeface="Segoe UI"/>
              </a:rPr>
              <a:t> you get more visibility of what apps, flows, and makers are in your environment. </a:t>
            </a:r>
            <a:endParaRPr lang="en-US" sz="2000"/>
          </a:p>
          <a:p>
            <a:pPr marL="310515" indent="-310515"/>
            <a:endParaRPr lang="en-US" sz="2000"/>
          </a:p>
          <a:p>
            <a:pPr marL="310515" indent="-310515"/>
            <a:r>
              <a:rPr lang="en-US" sz="2000">
                <a:cs typeface="Segoe UI"/>
              </a:rPr>
              <a:t>Contains mainly assets relevant to admins but also provides foundation for some of the other </a:t>
            </a:r>
            <a:r>
              <a:rPr lang="en-US" sz="2000" err="1">
                <a:cs typeface="Segoe UI"/>
              </a:rPr>
              <a:t>CoE</a:t>
            </a:r>
            <a:r>
              <a:rPr lang="en-US" sz="2000">
                <a:cs typeface="Segoe UI"/>
              </a:rPr>
              <a:t> components like Governance and Nurture.</a:t>
            </a:r>
            <a:endParaRPr lang="en-US" sz="2000"/>
          </a:p>
          <a:p>
            <a:pPr marL="310515" indent="-310515"/>
            <a:endParaRPr lang="en-US"/>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err="1">
                <a:solidFill>
                  <a:schemeClr val="tx2">
                    <a:lumMod val="50000"/>
                  </a:schemeClr>
                </a:solidFill>
                <a:latin typeface="+mn-lt"/>
              </a:rPr>
              <a:t>CoE</a:t>
            </a:r>
            <a:r>
              <a:rPr lang="en-GB" sz="2000">
                <a:solidFill>
                  <a:schemeClr val="tx2">
                    <a:lumMod val="50000"/>
                  </a:schemeClr>
                </a:solidFill>
                <a:latin typeface="+mn-lt"/>
              </a:rPr>
              <a:t> Starter Kit Building Blocks</a:t>
            </a:r>
            <a:endParaRPr lang="LID4096" sz="2000"/>
          </a:p>
        </p:txBody>
      </p:sp>
      <p:pic>
        <p:nvPicPr>
          <p:cNvPr id="8" name="Picture 7">
            <a:extLst>
              <a:ext uri="{FF2B5EF4-FFF2-40B4-BE49-F238E27FC236}">
                <a16:creationId xmlns:a16="http://schemas.microsoft.com/office/drawing/2014/main" id="{A9AC66D6-830A-4B8C-B283-7BEA46B23DB6}"/>
              </a:ext>
            </a:extLst>
          </p:cNvPr>
          <p:cNvPicPr>
            <a:picLocks noChangeAspect="1"/>
          </p:cNvPicPr>
          <p:nvPr/>
        </p:nvPicPr>
        <p:blipFill>
          <a:blip r:embed="rId5"/>
          <a:stretch>
            <a:fillRect/>
          </a:stretch>
        </p:blipFill>
        <p:spPr>
          <a:xfrm>
            <a:off x="6600105" y="1404506"/>
            <a:ext cx="3989205" cy="2024494"/>
          </a:xfrm>
          <a:prstGeom prst="rect">
            <a:avLst/>
          </a:prstGeom>
        </p:spPr>
      </p:pic>
      <p:pic>
        <p:nvPicPr>
          <p:cNvPr id="10" name="Picture 9">
            <a:extLst>
              <a:ext uri="{FF2B5EF4-FFF2-40B4-BE49-F238E27FC236}">
                <a16:creationId xmlns:a16="http://schemas.microsoft.com/office/drawing/2014/main" id="{BE5F077A-48BA-49B5-AECE-EB22A7B3674C}"/>
              </a:ext>
            </a:extLst>
          </p:cNvPr>
          <p:cNvPicPr>
            <a:picLocks noChangeAspect="1"/>
          </p:cNvPicPr>
          <p:nvPr/>
        </p:nvPicPr>
        <p:blipFill>
          <a:blip r:embed="rId6"/>
          <a:stretch>
            <a:fillRect/>
          </a:stretch>
        </p:blipFill>
        <p:spPr>
          <a:xfrm>
            <a:off x="6600105" y="4390628"/>
            <a:ext cx="4730068" cy="1985801"/>
          </a:xfrm>
          <a:prstGeom prst="rect">
            <a:avLst/>
          </a:prstGeom>
        </p:spPr>
      </p:pic>
      <p:pic>
        <p:nvPicPr>
          <p:cNvPr id="6" name="Picture 5">
            <a:extLst>
              <a:ext uri="{FF2B5EF4-FFF2-40B4-BE49-F238E27FC236}">
                <a16:creationId xmlns:a16="http://schemas.microsoft.com/office/drawing/2014/main" id="{6EC0C4F4-134F-4BD7-B971-F480F0999E7F}"/>
              </a:ext>
            </a:extLst>
          </p:cNvPr>
          <p:cNvPicPr>
            <a:picLocks noChangeAspect="1"/>
          </p:cNvPicPr>
          <p:nvPr/>
        </p:nvPicPr>
        <p:blipFill>
          <a:blip r:embed="rId7"/>
          <a:stretch>
            <a:fillRect/>
          </a:stretch>
        </p:blipFill>
        <p:spPr>
          <a:xfrm>
            <a:off x="10048053" y="1949027"/>
            <a:ext cx="2022026" cy="3272862"/>
          </a:xfrm>
          <a:prstGeom prst="rect">
            <a:avLst/>
          </a:prstGeom>
        </p:spPr>
      </p:pic>
      <p:sp>
        <p:nvSpPr>
          <p:cNvPr id="5" name="Footer Placeholder 4">
            <a:extLst>
              <a:ext uri="{FF2B5EF4-FFF2-40B4-BE49-F238E27FC236}">
                <a16:creationId xmlns:a16="http://schemas.microsoft.com/office/drawing/2014/main" id="{C2307F40-A292-6B35-BC43-A4B2D373D62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385431110"/>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Governance Components – Audit &amp; Compliance</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9" y="1408114"/>
            <a:ext cx="5160370"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r>
              <a:rPr lang="en-US" sz="2000">
                <a:cs typeface="Segoe UI"/>
              </a:rPr>
              <a:t>After you've become familiar with your environment and resources, you might start thinking about audit and compliance processes for your apps. </a:t>
            </a:r>
            <a:endParaRPr lang="en-US"/>
          </a:p>
          <a:p>
            <a:pPr marL="310515" indent="-310515"/>
            <a:r>
              <a:rPr lang="en-US" sz="2000">
                <a:cs typeface="Segoe UI"/>
              </a:rPr>
              <a:t>You might want to gather additional information about your apps from your makers or audit specific connectors or app usage. The apps and flows that are part of this solution help you get started.</a:t>
            </a:r>
            <a:endParaRPr lang="en-US"/>
          </a:p>
          <a:p>
            <a:pPr marL="310515" indent="-310515"/>
            <a:endParaRPr lang="en-US"/>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err="1">
                <a:solidFill>
                  <a:schemeClr val="tx2">
                    <a:lumMod val="50000"/>
                  </a:schemeClr>
                </a:solidFill>
                <a:latin typeface="+mn-lt"/>
              </a:rPr>
              <a:t>CoE</a:t>
            </a:r>
            <a:r>
              <a:rPr lang="en-GB" sz="2000">
                <a:solidFill>
                  <a:schemeClr val="tx2">
                    <a:lumMod val="50000"/>
                  </a:schemeClr>
                </a:solidFill>
                <a:latin typeface="+mn-lt"/>
              </a:rPr>
              <a:t> Starter Kit Building Blocks</a:t>
            </a:r>
            <a:endParaRPr lang="LID4096" sz="2000"/>
          </a:p>
        </p:txBody>
      </p:sp>
      <p:pic>
        <p:nvPicPr>
          <p:cNvPr id="5" name="Picture 4">
            <a:extLst>
              <a:ext uri="{FF2B5EF4-FFF2-40B4-BE49-F238E27FC236}">
                <a16:creationId xmlns:a16="http://schemas.microsoft.com/office/drawing/2014/main" id="{ECB5182C-B1D4-4CB3-964B-1D2D3382B1AB}"/>
              </a:ext>
            </a:extLst>
          </p:cNvPr>
          <p:cNvPicPr>
            <a:picLocks noChangeAspect="1"/>
          </p:cNvPicPr>
          <p:nvPr/>
        </p:nvPicPr>
        <p:blipFill>
          <a:blip r:embed="rId5"/>
          <a:stretch>
            <a:fillRect/>
          </a:stretch>
        </p:blipFill>
        <p:spPr>
          <a:xfrm>
            <a:off x="6095999" y="1408114"/>
            <a:ext cx="5800601" cy="3867068"/>
          </a:xfrm>
          <a:prstGeom prst="rect">
            <a:avLst/>
          </a:prstGeom>
        </p:spPr>
      </p:pic>
      <p:pic>
        <p:nvPicPr>
          <p:cNvPr id="7" name="Picture 2">
            <a:extLst>
              <a:ext uri="{FF2B5EF4-FFF2-40B4-BE49-F238E27FC236}">
                <a16:creationId xmlns:a16="http://schemas.microsoft.com/office/drawing/2014/main" id="{7506DFCA-DEA6-453D-95FB-A9F2437E10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95370" y="3049474"/>
            <a:ext cx="3290304" cy="3540835"/>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4">
            <a:extLst>
              <a:ext uri="{FF2B5EF4-FFF2-40B4-BE49-F238E27FC236}">
                <a16:creationId xmlns:a16="http://schemas.microsoft.com/office/drawing/2014/main" id="{F397FF87-FBE1-2CE0-3485-375C8D33870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925571220"/>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Nurture Components - Learning</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9" y="1408114"/>
            <a:ext cx="5160370"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sz="2000"/>
              <a:t>An essential part of establishing a </a:t>
            </a:r>
            <a:r>
              <a:rPr lang="en-US" sz="2000" err="1"/>
              <a:t>CoE</a:t>
            </a:r>
            <a:r>
              <a:rPr lang="en-US" sz="2000"/>
              <a:t> is nurturing your makers and an internal community. You'll want to share best practices and templates and onboard new makers – the assets part of this solution can help develop a strategy for this motion. </a:t>
            </a:r>
          </a:p>
          <a:p>
            <a:pPr marL="310515" indent="-310515"/>
            <a:endParaRPr lang="en-US" sz="2000"/>
          </a:p>
          <a:p>
            <a:pPr marL="310515" indent="-310515"/>
            <a:r>
              <a:rPr lang="en-US" sz="2000"/>
              <a:t>The Nurture Components solution contains assets relevant to everyone in the organization, admins, makers and end users of apps and flows.</a:t>
            </a:r>
            <a:endParaRPr lang="en-US"/>
          </a:p>
          <a:p>
            <a:pPr marL="310515" indent="-310515"/>
            <a:endParaRPr lang="en-US"/>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err="1">
                <a:solidFill>
                  <a:schemeClr val="tx2">
                    <a:lumMod val="50000"/>
                  </a:schemeClr>
                </a:solidFill>
                <a:latin typeface="+mn-lt"/>
              </a:rPr>
              <a:t>CoE</a:t>
            </a:r>
            <a:r>
              <a:rPr lang="en-GB" sz="2000">
                <a:solidFill>
                  <a:schemeClr val="tx2">
                    <a:lumMod val="50000"/>
                  </a:schemeClr>
                </a:solidFill>
                <a:latin typeface="+mn-lt"/>
              </a:rPr>
              <a:t> Starter Kit Building Blocks</a:t>
            </a:r>
            <a:endParaRPr lang="LID4096" sz="2000"/>
          </a:p>
        </p:txBody>
      </p:sp>
      <p:pic>
        <p:nvPicPr>
          <p:cNvPr id="6" name="Picture 5">
            <a:extLst>
              <a:ext uri="{FF2B5EF4-FFF2-40B4-BE49-F238E27FC236}">
                <a16:creationId xmlns:a16="http://schemas.microsoft.com/office/drawing/2014/main" id="{867A46AF-24B8-4838-B732-C6DE21D092C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4495" y="1408114"/>
            <a:ext cx="6477505" cy="3658859"/>
          </a:xfrm>
          <a:prstGeom prst="rect">
            <a:avLst/>
          </a:prstGeom>
        </p:spPr>
      </p:pic>
      <p:pic>
        <p:nvPicPr>
          <p:cNvPr id="10" name="Picture 9">
            <a:extLst>
              <a:ext uri="{FF2B5EF4-FFF2-40B4-BE49-F238E27FC236}">
                <a16:creationId xmlns:a16="http://schemas.microsoft.com/office/drawing/2014/main" id="{977BB6FF-2B38-4538-8517-537C95447CA9}"/>
              </a:ext>
            </a:extLst>
          </p:cNvPr>
          <p:cNvPicPr>
            <a:picLocks noChangeAspect="1"/>
          </p:cNvPicPr>
          <p:nvPr/>
        </p:nvPicPr>
        <p:blipFill>
          <a:blip r:embed="rId6"/>
          <a:stretch>
            <a:fillRect/>
          </a:stretch>
        </p:blipFill>
        <p:spPr>
          <a:xfrm>
            <a:off x="7582203" y="3418988"/>
            <a:ext cx="4464109" cy="3262233"/>
          </a:xfrm>
          <a:prstGeom prst="rect">
            <a:avLst/>
          </a:prstGeom>
        </p:spPr>
      </p:pic>
      <p:sp>
        <p:nvSpPr>
          <p:cNvPr id="5" name="Footer Placeholder 4">
            <a:extLst>
              <a:ext uri="{FF2B5EF4-FFF2-40B4-BE49-F238E27FC236}">
                <a16:creationId xmlns:a16="http://schemas.microsoft.com/office/drawing/2014/main" id="{173F07B0-7D39-6B65-C541-7A88A86DABB3}"/>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601854313"/>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33D955B-5168-AA58-C5AC-BB3D9A645C18}"/>
              </a:ext>
            </a:extLst>
          </p:cNvPr>
          <p:cNvSpPr/>
          <p:nvPr/>
        </p:nvSpPr>
        <p:spPr bwMode="auto">
          <a:xfrm>
            <a:off x="11909" y="2711269"/>
            <a:ext cx="12192000" cy="3805284"/>
          </a:xfrm>
          <a:prstGeom prst="rect">
            <a:avLst/>
          </a:pr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000000"/>
              </a:solidFill>
              <a:effectLst/>
              <a:uLnTx/>
              <a:uFillTx/>
              <a:latin typeface="Segoe UI"/>
              <a:ea typeface="+mj-ea"/>
              <a:cs typeface="Segoe UI" pitchFamily="34" charset="0"/>
            </a:endParaRPr>
          </a:p>
        </p:txBody>
      </p:sp>
      <p:sp>
        <p:nvSpPr>
          <p:cNvPr id="2" name="Title 1"/>
          <p:cNvSpPr>
            <a:spLocks noGrp="1"/>
          </p:cNvSpPr>
          <p:nvPr>
            <p:ph type="title"/>
          </p:nvPr>
        </p:nvSpPr>
        <p:spPr/>
        <p:txBody>
          <a:bodyPr/>
          <a:lstStyle/>
          <a:p>
            <a:r>
              <a:rPr lang="en-US">
                <a:solidFill>
                  <a:srgbClr val="243A5E"/>
                </a:solidFill>
              </a:rPr>
              <a:t>Standalone Add-ons</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p:txBody>
          <a:bodyPr>
            <a:normAutofit/>
          </a:bodyPr>
          <a:lstStyle/>
          <a:p>
            <a:pPr lvl="1"/>
            <a:r>
              <a:rPr lang="en-US"/>
              <a:t>Center of Excellence Starter Kit</a:t>
            </a:r>
          </a:p>
        </p:txBody>
      </p:sp>
      <p:cxnSp>
        <p:nvCxnSpPr>
          <p:cNvPr id="47" name="Straight Connector 46">
            <a:extLst>
              <a:ext uri="{FF2B5EF4-FFF2-40B4-BE49-F238E27FC236}">
                <a16:creationId xmlns:a16="http://schemas.microsoft.com/office/drawing/2014/main" id="{9A90869B-842C-4D31-AA5D-4869F1D62C66}"/>
              </a:ext>
            </a:extLst>
          </p:cNvPr>
          <p:cNvCxnSpPr>
            <a:cxnSpLocks/>
          </p:cNvCxnSpPr>
          <p:nvPr/>
        </p:nvCxnSpPr>
        <p:spPr>
          <a:xfrm>
            <a:off x="0" y="2899176"/>
            <a:ext cx="121920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8B38B250-B8E2-E803-7DDF-0A59F53DF2F9}"/>
              </a:ext>
            </a:extLst>
          </p:cNvPr>
          <p:cNvSpPr txBox="1">
            <a:spLocks/>
          </p:cNvSpPr>
          <p:nvPr/>
        </p:nvSpPr>
        <p:spPr>
          <a:xfrm>
            <a:off x="308154" y="4404042"/>
            <a:ext cx="1963270"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kumimoji="0" lang="en-GB" sz="20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Innovation Backlog</a:t>
            </a:r>
            <a:endParaRPr kumimoji="0" lang="en-GB" sz="1800" b="0"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rPr>
              <a:t>Submit ideas for apps and flows that need building</a:t>
            </a:r>
          </a:p>
        </p:txBody>
      </p:sp>
      <p:sp>
        <p:nvSpPr>
          <p:cNvPr id="4" name="Text Placeholder 6">
            <a:extLst>
              <a:ext uri="{FF2B5EF4-FFF2-40B4-BE49-F238E27FC236}">
                <a16:creationId xmlns:a16="http://schemas.microsoft.com/office/drawing/2014/main" id="{F50EE410-F528-4A45-69AD-524033A71D35}"/>
              </a:ext>
            </a:extLst>
          </p:cNvPr>
          <p:cNvSpPr txBox="1">
            <a:spLocks/>
          </p:cNvSpPr>
          <p:nvPr/>
        </p:nvSpPr>
        <p:spPr>
          <a:xfrm>
            <a:off x="6411321" y="4359893"/>
            <a:ext cx="2089234" cy="1454684"/>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FI" sz="2000" b="0"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Administration Planning</a:t>
            </a:r>
            <a:endParaRPr kumimoji="0" lang="en-GB" sz="1800" b="0"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rPr>
              <a:t>Plan your team structure and review where you spend time and look for automation or innovation opportunities.</a:t>
            </a:r>
            <a:endParaRPr kumimoji="0" lang="en-GB" sz="14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endParaRPr>
          </a:p>
        </p:txBody>
      </p:sp>
      <p:sp>
        <p:nvSpPr>
          <p:cNvPr id="6" name="Text Placeholder 2">
            <a:extLst>
              <a:ext uri="{FF2B5EF4-FFF2-40B4-BE49-F238E27FC236}">
                <a16:creationId xmlns:a16="http://schemas.microsoft.com/office/drawing/2014/main" id="{4D666AEA-E2CC-1EAF-C769-4733A563C3E7}"/>
              </a:ext>
            </a:extLst>
          </p:cNvPr>
          <p:cNvSpPr txBox="1">
            <a:spLocks/>
          </p:cNvSpPr>
          <p:nvPr/>
        </p:nvSpPr>
        <p:spPr>
          <a:xfrm>
            <a:off x="3162402" y="4460342"/>
            <a:ext cx="2618278" cy="793422"/>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GB" sz="20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ALM </a:t>
            </a:r>
            <a:r>
              <a:rPr kumimoji="0" lang="en-FI" sz="20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Accelerator</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rPr>
              <a:t>Implement Application Lifecycle Management patterns and practices for source control	</a:t>
            </a:r>
          </a:p>
        </p:txBody>
      </p:sp>
      <p:grpSp>
        <p:nvGrpSpPr>
          <p:cNvPr id="10" name="Graphic 902">
            <a:extLst>
              <a:ext uri="{FF2B5EF4-FFF2-40B4-BE49-F238E27FC236}">
                <a16:creationId xmlns:a16="http://schemas.microsoft.com/office/drawing/2014/main" id="{17758BDD-19CB-3A73-6090-9E4C2664FA48}"/>
              </a:ext>
            </a:extLst>
          </p:cNvPr>
          <p:cNvGrpSpPr>
            <a:grpSpLocks noChangeAspect="1"/>
          </p:cNvGrpSpPr>
          <p:nvPr/>
        </p:nvGrpSpPr>
        <p:grpSpPr>
          <a:xfrm>
            <a:off x="402007" y="3876258"/>
            <a:ext cx="287148" cy="380983"/>
            <a:chOff x="6051644" y="3273519"/>
            <a:chExt cx="334327" cy="443579"/>
          </a:xfrm>
          <a:noFill/>
        </p:grpSpPr>
        <p:sp>
          <p:nvSpPr>
            <p:cNvPr id="11" name="Freeform: Shape 10">
              <a:extLst>
                <a:ext uri="{FF2B5EF4-FFF2-40B4-BE49-F238E27FC236}">
                  <a16:creationId xmlns:a16="http://schemas.microsoft.com/office/drawing/2014/main" id="{C3317435-D5F3-2193-3228-ABBE96103659}"/>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F6502DB0-4966-39E9-8344-26EFBADC8077}"/>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AD7B46E3-4A43-7902-B116-6B9ABE7CF6D2}"/>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16F877B3-3040-2621-E674-88895C17E92D}"/>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 name="Graphic 30">
            <a:extLst>
              <a:ext uri="{FF2B5EF4-FFF2-40B4-BE49-F238E27FC236}">
                <a16:creationId xmlns:a16="http://schemas.microsoft.com/office/drawing/2014/main" id="{C13E6372-6ED1-860F-55EE-BDABD779EE80}"/>
              </a:ext>
            </a:extLst>
          </p:cNvPr>
          <p:cNvGrpSpPr>
            <a:grpSpLocks noChangeAspect="1"/>
          </p:cNvGrpSpPr>
          <p:nvPr/>
        </p:nvGrpSpPr>
        <p:grpSpPr>
          <a:xfrm>
            <a:off x="3162401" y="3913166"/>
            <a:ext cx="445206" cy="419766"/>
            <a:chOff x="6051549" y="3340099"/>
            <a:chExt cx="576719" cy="543764"/>
          </a:xfrm>
        </p:grpSpPr>
        <p:sp>
          <p:nvSpPr>
            <p:cNvPr id="17" name="Freeform: Shape 16">
              <a:extLst>
                <a:ext uri="{FF2B5EF4-FFF2-40B4-BE49-F238E27FC236}">
                  <a16:creationId xmlns:a16="http://schemas.microsoft.com/office/drawing/2014/main" id="{5D9056EC-5E6A-063A-46EF-5ADDDBC9DDD9}"/>
                </a:ext>
              </a:extLst>
            </p:cNvPr>
            <p:cNvSpPr/>
            <p:nvPr/>
          </p:nvSpPr>
          <p:spPr>
            <a:xfrm>
              <a:off x="6062918" y="3348502"/>
              <a:ext cx="479830" cy="521848"/>
            </a:xfrm>
            <a:custGeom>
              <a:avLst/>
              <a:gdLst>
                <a:gd name="connsiteX0" fmla="*/ 351139 w 479830"/>
                <a:gd name="connsiteY0" fmla="*/ 434352 h 521848"/>
                <a:gd name="connsiteX1" fmla="*/ 283746 w 479830"/>
                <a:gd name="connsiteY1" fmla="*/ 469285 h 521848"/>
                <a:gd name="connsiteX2" fmla="*/ 283746 w 479830"/>
                <a:gd name="connsiteY2" fmla="*/ 521849 h 521848"/>
                <a:gd name="connsiteX3" fmla="*/ 189658 w 479830"/>
                <a:gd name="connsiteY3" fmla="*/ 521849 h 521848"/>
                <a:gd name="connsiteX4" fmla="*/ 189658 w 479830"/>
                <a:gd name="connsiteY4" fmla="*/ 463023 h 521848"/>
                <a:gd name="connsiteX5" fmla="*/ 89309 w 479830"/>
                <a:gd name="connsiteY5" fmla="*/ 404198 h 521848"/>
                <a:gd name="connsiteX6" fmla="*/ 43831 w 479830"/>
                <a:gd name="connsiteY6" fmla="*/ 428091 h 521848"/>
                <a:gd name="connsiteX7" fmla="*/ 0 w 479830"/>
                <a:gd name="connsiteY7" fmla="*/ 340594 h 521848"/>
                <a:gd name="connsiteX8" fmla="*/ 43831 w 479830"/>
                <a:gd name="connsiteY8" fmla="*/ 316701 h 521848"/>
                <a:gd name="connsiteX9" fmla="*/ 32791 w 479830"/>
                <a:gd name="connsiteY9" fmla="*/ 257876 h 521848"/>
                <a:gd name="connsiteX10" fmla="*/ 43831 w 479830"/>
                <a:gd name="connsiteY10" fmla="*/ 199051 h 521848"/>
                <a:gd name="connsiteX11" fmla="*/ 0 w 479830"/>
                <a:gd name="connsiteY11" fmla="*/ 176806 h 521848"/>
                <a:gd name="connsiteX12" fmla="*/ 43831 w 479830"/>
                <a:gd name="connsiteY12" fmla="*/ 87661 h 521848"/>
                <a:gd name="connsiteX13" fmla="*/ 89309 w 479830"/>
                <a:gd name="connsiteY13" fmla="*/ 111554 h 521848"/>
                <a:gd name="connsiteX14" fmla="*/ 189658 w 479830"/>
                <a:gd name="connsiteY14" fmla="*/ 52564 h 521848"/>
                <a:gd name="connsiteX15" fmla="*/ 189658 w 479830"/>
                <a:gd name="connsiteY15" fmla="*/ 0 h 521848"/>
                <a:gd name="connsiteX16" fmla="*/ 283746 w 479830"/>
                <a:gd name="connsiteY16" fmla="*/ 0 h 521848"/>
                <a:gd name="connsiteX17" fmla="*/ 283746 w 479830"/>
                <a:gd name="connsiteY17" fmla="*/ 47785 h 521848"/>
                <a:gd name="connsiteX18" fmla="*/ 390356 w 479830"/>
                <a:gd name="connsiteY18" fmla="*/ 111389 h 521848"/>
                <a:gd name="connsiteX19" fmla="*/ 429573 w 479830"/>
                <a:gd name="connsiteY19" fmla="*/ 87497 h 521848"/>
                <a:gd name="connsiteX20" fmla="*/ 479830 w 479830"/>
                <a:gd name="connsiteY20" fmla="*/ 176641 h 521848"/>
                <a:gd name="connsiteX21" fmla="*/ 434352 w 479830"/>
                <a:gd name="connsiteY21" fmla="*/ 198886 h 521848"/>
                <a:gd name="connsiteX22" fmla="*/ 442261 w 479830"/>
                <a:gd name="connsiteY22" fmla="*/ 257711 h 521848"/>
                <a:gd name="connsiteX23" fmla="*/ 437483 w 479830"/>
                <a:gd name="connsiteY23" fmla="*/ 299070 h 521848"/>
                <a:gd name="connsiteX24" fmla="*/ 291655 w 479830"/>
                <a:gd name="connsiteY24" fmla="*/ 159175 h 521848"/>
                <a:gd name="connsiteX25" fmla="*/ 235137 w 479830"/>
                <a:gd name="connsiteY25" fmla="*/ 141708 h 521848"/>
                <a:gd name="connsiteX26" fmla="*/ 117486 w 479830"/>
                <a:gd name="connsiteY26" fmla="*/ 264138 h 521848"/>
                <a:gd name="connsiteX27" fmla="*/ 167743 w 479830"/>
                <a:gd name="connsiteY27" fmla="*/ 367617 h 52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9830" h="521848">
                  <a:moveTo>
                    <a:pt x="351139" y="434352"/>
                  </a:moveTo>
                  <a:cubicBezTo>
                    <a:pt x="333838" y="451818"/>
                    <a:pt x="305661" y="463023"/>
                    <a:pt x="283746" y="469285"/>
                  </a:cubicBezTo>
                  <a:cubicBezTo>
                    <a:pt x="283746" y="469285"/>
                    <a:pt x="283746" y="469285"/>
                    <a:pt x="283746" y="521849"/>
                  </a:cubicBezTo>
                  <a:cubicBezTo>
                    <a:pt x="283746" y="521849"/>
                    <a:pt x="283746" y="521849"/>
                    <a:pt x="189658" y="521849"/>
                  </a:cubicBezTo>
                  <a:cubicBezTo>
                    <a:pt x="189658" y="521849"/>
                    <a:pt x="189658" y="521849"/>
                    <a:pt x="189658" y="463023"/>
                  </a:cubicBezTo>
                  <a:cubicBezTo>
                    <a:pt x="150441" y="456597"/>
                    <a:pt x="117486" y="434352"/>
                    <a:pt x="89309" y="404198"/>
                  </a:cubicBezTo>
                  <a:cubicBezTo>
                    <a:pt x="89309" y="404198"/>
                    <a:pt x="89309" y="404198"/>
                    <a:pt x="43831" y="428091"/>
                  </a:cubicBezTo>
                  <a:cubicBezTo>
                    <a:pt x="43831" y="428091"/>
                    <a:pt x="43831" y="428091"/>
                    <a:pt x="0" y="340594"/>
                  </a:cubicBezTo>
                  <a:cubicBezTo>
                    <a:pt x="0" y="340594"/>
                    <a:pt x="0" y="340594"/>
                    <a:pt x="43831" y="316701"/>
                  </a:cubicBezTo>
                  <a:cubicBezTo>
                    <a:pt x="39052" y="299235"/>
                    <a:pt x="32791" y="281769"/>
                    <a:pt x="32791" y="257876"/>
                  </a:cubicBezTo>
                  <a:cubicBezTo>
                    <a:pt x="32791" y="240410"/>
                    <a:pt x="39052" y="216517"/>
                    <a:pt x="43831" y="199051"/>
                  </a:cubicBezTo>
                  <a:cubicBezTo>
                    <a:pt x="43831" y="199051"/>
                    <a:pt x="43831" y="199051"/>
                    <a:pt x="0" y="176806"/>
                  </a:cubicBezTo>
                  <a:cubicBezTo>
                    <a:pt x="0" y="176806"/>
                    <a:pt x="0" y="176806"/>
                    <a:pt x="43831" y="87661"/>
                  </a:cubicBezTo>
                  <a:cubicBezTo>
                    <a:pt x="43831" y="87661"/>
                    <a:pt x="43831" y="87661"/>
                    <a:pt x="89309" y="111554"/>
                  </a:cubicBezTo>
                  <a:cubicBezTo>
                    <a:pt x="117486" y="82883"/>
                    <a:pt x="150441" y="58990"/>
                    <a:pt x="189658" y="52564"/>
                  </a:cubicBezTo>
                  <a:cubicBezTo>
                    <a:pt x="189658" y="52564"/>
                    <a:pt x="189658" y="52564"/>
                    <a:pt x="189658" y="0"/>
                  </a:cubicBezTo>
                  <a:cubicBezTo>
                    <a:pt x="189658" y="0"/>
                    <a:pt x="189658" y="0"/>
                    <a:pt x="283746" y="0"/>
                  </a:cubicBezTo>
                  <a:cubicBezTo>
                    <a:pt x="283746" y="0"/>
                    <a:pt x="283746" y="0"/>
                    <a:pt x="283746" y="47785"/>
                  </a:cubicBezTo>
                  <a:cubicBezTo>
                    <a:pt x="322963" y="58990"/>
                    <a:pt x="362180" y="82718"/>
                    <a:pt x="390356" y="111389"/>
                  </a:cubicBezTo>
                  <a:cubicBezTo>
                    <a:pt x="390356" y="111389"/>
                    <a:pt x="390356" y="111389"/>
                    <a:pt x="429573" y="87497"/>
                  </a:cubicBezTo>
                  <a:cubicBezTo>
                    <a:pt x="429573" y="87497"/>
                    <a:pt x="429573" y="87497"/>
                    <a:pt x="479830" y="176641"/>
                  </a:cubicBezTo>
                  <a:cubicBezTo>
                    <a:pt x="479830" y="176641"/>
                    <a:pt x="479830" y="176641"/>
                    <a:pt x="434352" y="198886"/>
                  </a:cubicBezTo>
                  <a:cubicBezTo>
                    <a:pt x="440613" y="216352"/>
                    <a:pt x="442261" y="238597"/>
                    <a:pt x="442261" y="257711"/>
                  </a:cubicBezTo>
                  <a:cubicBezTo>
                    <a:pt x="442261" y="268916"/>
                    <a:pt x="442261" y="283087"/>
                    <a:pt x="437483" y="299070"/>
                  </a:cubicBezTo>
                  <a:moveTo>
                    <a:pt x="291655" y="159175"/>
                  </a:moveTo>
                  <a:cubicBezTo>
                    <a:pt x="276001" y="147970"/>
                    <a:pt x="258700" y="141708"/>
                    <a:pt x="235137" y="141708"/>
                  </a:cubicBezTo>
                  <a:cubicBezTo>
                    <a:pt x="167743" y="141708"/>
                    <a:pt x="117486" y="200534"/>
                    <a:pt x="117486" y="264138"/>
                  </a:cubicBezTo>
                  <a:cubicBezTo>
                    <a:pt x="117486" y="310275"/>
                    <a:pt x="133140" y="345208"/>
                    <a:pt x="167743" y="367617"/>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F18BB57-CA80-885D-6EC7-82F7714A278C}"/>
                </a:ext>
              </a:extLst>
            </p:cNvPr>
            <p:cNvSpPr/>
            <p:nvPr/>
          </p:nvSpPr>
          <p:spPr>
            <a:xfrm>
              <a:off x="6267675" y="3567293"/>
              <a:ext cx="347913" cy="268692"/>
            </a:xfrm>
            <a:custGeom>
              <a:avLst/>
              <a:gdLst>
                <a:gd name="connsiteX0" fmla="*/ 122985 w 347913"/>
                <a:gd name="connsiteY0" fmla="*/ 159867 h 268692"/>
                <a:gd name="connsiteX1" fmla="*/ 281335 w 347913"/>
                <a:gd name="connsiteY1" fmla="*/ 261699 h 268692"/>
                <a:gd name="connsiteX2" fmla="*/ 340985 w 347913"/>
                <a:gd name="connsiteY2" fmla="*/ 249011 h 268692"/>
                <a:gd name="connsiteX3" fmla="*/ 328461 w 347913"/>
                <a:gd name="connsiteY3" fmla="*/ 188538 h 268692"/>
                <a:gd name="connsiteX4" fmla="*/ 166980 w 347913"/>
                <a:gd name="connsiteY4" fmla="*/ 91484 h 268692"/>
                <a:gd name="connsiteX5" fmla="*/ 163849 w 347913"/>
                <a:gd name="connsiteY5" fmla="*/ 89836 h 268692"/>
                <a:gd name="connsiteX6" fmla="*/ 162202 w 347913"/>
                <a:gd name="connsiteY6" fmla="*/ 65944 h 268692"/>
                <a:gd name="connsiteX7" fmla="*/ 64983 w 347913"/>
                <a:gd name="connsiteY7" fmla="*/ 2340 h 268692"/>
                <a:gd name="connsiteX8" fmla="*/ 22636 w 347913"/>
                <a:gd name="connsiteY8" fmla="*/ 24585 h 268692"/>
                <a:gd name="connsiteX9" fmla="*/ 99422 w 347913"/>
                <a:gd name="connsiteY9" fmla="*/ 72370 h 268692"/>
                <a:gd name="connsiteX10" fmla="*/ 80637 w 347913"/>
                <a:gd name="connsiteY10" fmla="*/ 97746 h 268692"/>
                <a:gd name="connsiteX11" fmla="*/ 6982 w 347913"/>
                <a:gd name="connsiteY11" fmla="*/ 49960 h 268692"/>
                <a:gd name="connsiteX12" fmla="*/ 2203 w 347913"/>
                <a:gd name="connsiteY12" fmla="*/ 100876 h 268692"/>
                <a:gd name="connsiteX13" fmla="*/ 99422 w 347913"/>
                <a:gd name="connsiteY13" fmla="*/ 164480 h 268692"/>
                <a:gd name="connsiteX14" fmla="*/ 119854 w 347913"/>
                <a:gd name="connsiteY14" fmla="*/ 158054 h 268692"/>
                <a:gd name="connsiteX15" fmla="*/ 122985 w 347913"/>
                <a:gd name="connsiteY15" fmla="*/ 159867 h 268692"/>
                <a:gd name="connsiteX16" fmla="*/ 122985 w 347913"/>
                <a:gd name="connsiteY16" fmla="*/ 159867 h 268692"/>
                <a:gd name="connsiteX17" fmla="*/ 122985 w 347913"/>
                <a:gd name="connsiteY17" fmla="*/ 159867 h 26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7913" h="268692">
                  <a:moveTo>
                    <a:pt x="122985" y="159867"/>
                  </a:moveTo>
                  <a:cubicBezTo>
                    <a:pt x="281335" y="261699"/>
                    <a:pt x="281335" y="261699"/>
                    <a:pt x="281335" y="261699"/>
                  </a:cubicBezTo>
                  <a:cubicBezTo>
                    <a:pt x="301768" y="274387"/>
                    <a:pt x="328461" y="269608"/>
                    <a:pt x="340985" y="249011"/>
                  </a:cubicBezTo>
                  <a:cubicBezTo>
                    <a:pt x="353508" y="229897"/>
                    <a:pt x="348894" y="202873"/>
                    <a:pt x="328461" y="188538"/>
                  </a:cubicBezTo>
                  <a:cubicBezTo>
                    <a:pt x="166980" y="91484"/>
                    <a:pt x="166980" y="91484"/>
                    <a:pt x="166980" y="91484"/>
                  </a:cubicBezTo>
                  <a:cubicBezTo>
                    <a:pt x="163849" y="89836"/>
                    <a:pt x="163849" y="89836"/>
                    <a:pt x="163849" y="89836"/>
                  </a:cubicBezTo>
                  <a:cubicBezTo>
                    <a:pt x="165497" y="81927"/>
                    <a:pt x="163849" y="73853"/>
                    <a:pt x="162202" y="65944"/>
                  </a:cubicBezTo>
                  <a:cubicBezTo>
                    <a:pt x="152809" y="21454"/>
                    <a:pt x="108814" y="-8865"/>
                    <a:pt x="64983" y="2340"/>
                  </a:cubicBezTo>
                  <a:cubicBezTo>
                    <a:pt x="49329" y="5471"/>
                    <a:pt x="33676" y="13545"/>
                    <a:pt x="22636" y="24585"/>
                  </a:cubicBezTo>
                  <a:cubicBezTo>
                    <a:pt x="99422" y="72370"/>
                    <a:pt x="99422" y="72370"/>
                    <a:pt x="99422" y="72370"/>
                  </a:cubicBezTo>
                  <a:cubicBezTo>
                    <a:pt x="80637" y="97746"/>
                    <a:pt x="80637" y="97746"/>
                    <a:pt x="80637" y="97746"/>
                  </a:cubicBezTo>
                  <a:cubicBezTo>
                    <a:pt x="6982" y="49960"/>
                    <a:pt x="6982" y="49960"/>
                    <a:pt x="6982" y="49960"/>
                  </a:cubicBezTo>
                  <a:cubicBezTo>
                    <a:pt x="720" y="65944"/>
                    <a:pt x="-2410" y="83410"/>
                    <a:pt x="2203" y="100876"/>
                  </a:cubicBezTo>
                  <a:cubicBezTo>
                    <a:pt x="11596" y="145366"/>
                    <a:pt x="53943" y="174037"/>
                    <a:pt x="99422" y="164480"/>
                  </a:cubicBezTo>
                  <a:cubicBezTo>
                    <a:pt x="105683" y="162833"/>
                    <a:pt x="113592" y="161350"/>
                    <a:pt x="119854" y="158054"/>
                  </a:cubicBezTo>
                  <a:lnTo>
                    <a:pt x="122985" y="159867"/>
                  </a:lnTo>
                  <a:lnTo>
                    <a:pt x="122985" y="159867"/>
                  </a:lnTo>
                  <a:lnTo>
                    <a:pt x="122985" y="15986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pic>
        <p:nvPicPr>
          <p:cNvPr id="25" name="Picture 24">
            <a:extLst>
              <a:ext uri="{FF2B5EF4-FFF2-40B4-BE49-F238E27FC236}">
                <a16:creationId xmlns:a16="http://schemas.microsoft.com/office/drawing/2014/main" id="{8ACD0027-168F-AC3F-F08B-34AFE6D100CE}"/>
              </a:ext>
            </a:extLst>
          </p:cNvPr>
          <p:cNvPicPr>
            <a:picLocks noChangeAspect="1"/>
          </p:cNvPicPr>
          <p:nvPr/>
        </p:nvPicPr>
        <p:blipFill>
          <a:blip r:embed="rId4"/>
          <a:stretch>
            <a:fillRect/>
          </a:stretch>
        </p:blipFill>
        <p:spPr>
          <a:xfrm>
            <a:off x="402000" y="2271873"/>
            <a:ext cx="2229205" cy="1340235"/>
          </a:xfrm>
          <a:prstGeom prst="rect">
            <a:avLst/>
          </a:prstGeom>
        </p:spPr>
      </p:pic>
      <p:pic>
        <p:nvPicPr>
          <p:cNvPr id="31" name="Picture 30">
            <a:extLst>
              <a:ext uri="{FF2B5EF4-FFF2-40B4-BE49-F238E27FC236}">
                <a16:creationId xmlns:a16="http://schemas.microsoft.com/office/drawing/2014/main" id="{B62E08CB-2F84-2C09-CA40-2833AF36D680}"/>
              </a:ext>
            </a:extLst>
          </p:cNvPr>
          <p:cNvPicPr>
            <a:picLocks noChangeAspect="1"/>
          </p:cNvPicPr>
          <p:nvPr/>
        </p:nvPicPr>
        <p:blipFill>
          <a:blip r:embed="rId5"/>
          <a:stretch>
            <a:fillRect/>
          </a:stretch>
        </p:blipFill>
        <p:spPr>
          <a:xfrm>
            <a:off x="6318905" y="2280434"/>
            <a:ext cx="2436131" cy="1409675"/>
          </a:xfrm>
          <a:prstGeom prst="rect">
            <a:avLst/>
          </a:prstGeom>
        </p:spPr>
      </p:pic>
      <p:sp>
        <p:nvSpPr>
          <p:cNvPr id="33" name="Text Placeholder 6">
            <a:extLst>
              <a:ext uri="{FF2B5EF4-FFF2-40B4-BE49-F238E27FC236}">
                <a16:creationId xmlns:a16="http://schemas.microsoft.com/office/drawing/2014/main" id="{E0245AFA-2BF1-A9E4-9F8C-F935D5E5FE17}"/>
              </a:ext>
            </a:extLst>
          </p:cNvPr>
          <p:cNvSpPr txBox="1">
            <a:spLocks/>
          </p:cNvSpPr>
          <p:nvPr/>
        </p:nvSpPr>
        <p:spPr>
          <a:xfrm>
            <a:off x="9332680" y="4357490"/>
            <a:ext cx="2286631" cy="1454684"/>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FI" sz="2000" b="0"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Power Platform Hub</a:t>
            </a:r>
            <a:endParaRPr kumimoji="0" lang="en-GB" sz="1800" b="0"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rPr>
              <a:t>Power Platform community and wiki for sharing success stories, upcoming events, rules of engagement and guidelines with your makers</a:t>
            </a:r>
            <a:endParaRPr kumimoji="0" lang="en-GB" sz="14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endParaRPr>
          </a:p>
        </p:txBody>
      </p:sp>
      <p:grpSp>
        <p:nvGrpSpPr>
          <p:cNvPr id="37" name="Group 36">
            <a:extLst>
              <a:ext uri="{FF2B5EF4-FFF2-40B4-BE49-F238E27FC236}">
                <a16:creationId xmlns:a16="http://schemas.microsoft.com/office/drawing/2014/main" id="{20A2F07F-C5F7-0559-B474-3A3DC9353FC7}"/>
              </a:ext>
            </a:extLst>
          </p:cNvPr>
          <p:cNvGrpSpPr>
            <a:grpSpLocks noChangeAspect="1"/>
          </p:cNvGrpSpPr>
          <p:nvPr/>
        </p:nvGrpSpPr>
        <p:grpSpPr>
          <a:xfrm>
            <a:off x="9396847" y="3849943"/>
            <a:ext cx="410033" cy="322045"/>
            <a:chOff x="2013595" y="4071821"/>
            <a:chExt cx="410033" cy="322045"/>
          </a:xfrm>
        </p:grpSpPr>
        <p:sp>
          <p:nvSpPr>
            <p:cNvPr id="38" name="Freeform: Shape 37">
              <a:extLst>
                <a:ext uri="{FF2B5EF4-FFF2-40B4-BE49-F238E27FC236}">
                  <a16:creationId xmlns:a16="http://schemas.microsoft.com/office/drawing/2014/main" id="{E2AC3C43-5419-FFD4-7493-163796A512F5}"/>
                </a:ext>
              </a:extLst>
            </p:cNvPr>
            <p:cNvSpPr/>
            <p:nvPr/>
          </p:nvSpPr>
          <p:spPr>
            <a:xfrm rot="3600000">
              <a:off x="2066276" y="4119556"/>
              <a:ext cx="221629" cy="326992"/>
            </a:xfrm>
            <a:custGeom>
              <a:avLst/>
              <a:gdLst>
                <a:gd name="connsiteX0" fmla="*/ 0 w 221629"/>
                <a:gd name="connsiteY0" fmla="*/ 282959 h 326992"/>
                <a:gd name="connsiteX1" fmla="*/ 149717 w 221629"/>
                <a:gd name="connsiteY1" fmla="*/ 282959 h 326992"/>
                <a:gd name="connsiteX2" fmla="*/ 149717 w 221629"/>
                <a:gd name="connsiteY2" fmla="*/ 326992 h 326992"/>
                <a:gd name="connsiteX3" fmla="*/ 0 w 221629"/>
                <a:gd name="connsiteY3" fmla="*/ 326992 h 326992"/>
                <a:gd name="connsiteX4" fmla="*/ 208419 w 221629"/>
                <a:gd name="connsiteY4" fmla="*/ 486 h 326992"/>
                <a:gd name="connsiteX5" fmla="*/ 221629 w 221629"/>
                <a:gd name="connsiteY5" fmla="*/ 20301 h 326992"/>
                <a:gd name="connsiteX6" fmla="*/ 221629 w 221629"/>
                <a:gd name="connsiteY6" fmla="*/ 83050 h 326992"/>
                <a:gd name="connsiteX7" fmla="*/ 221629 w 221629"/>
                <a:gd name="connsiteY7" fmla="*/ 139193 h 326992"/>
                <a:gd name="connsiteX8" fmla="*/ 209519 w 221629"/>
                <a:gd name="connsiteY8" fmla="*/ 177723 h 326992"/>
                <a:gd name="connsiteX9" fmla="*/ 129158 w 221629"/>
                <a:gd name="connsiteY9" fmla="*/ 282303 h 326992"/>
                <a:gd name="connsiteX10" fmla="*/ 17971 w 221629"/>
                <a:gd name="connsiteY10" fmla="*/ 280101 h 326992"/>
                <a:gd name="connsiteX11" fmla="*/ 17971 w 221629"/>
                <a:gd name="connsiteY11" fmla="*/ 210749 h 326992"/>
                <a:gd name="connsiteX12" fmla="*/ 35584 w 221629"/>
                <a:gd name="connsiteY12" fmla="*/ 164513 h 326992"/>
                <a:gd name="connsiteX13" fmla="*/ 115947 w 221629"/>
                <a:gd name="connsiteY13" fmla="*/ 83050 h 326992"/>
                <a:gd name="connsiteX14" fmla="*/ 141266 w 221629"/>
                <a:gd name="connsiteY14" fmla="*/ 79747 h 326992"/>
                <a:gd name="connsiteX15" fmla="*/ 144570 w 221629"/>
                <a:gd name="connsiteY15" fmla="*/ 118277 h 326992"/>
                <a:gd name="connsiteX16" fmla="*/ 96132 w 221629"/>
                <a:gd name="connsiteY16" fmla="*/ 167815 h 326992"/>
                <a:gd name="connsiteX17" fmla="*/ 95030 w 221629"/>
                <a:gd name="connsiteY17" fmla="*/ 187630 h 326992"/>
                <a:gd name="connsiteX18" fmla="*/ 114846 w 221629"/>
                <a:gd name="connsiteY18" fmla="*/ 188732 h 326992"/>
                <a:gd name="connsiteX19" fmla="*/ 169889 w 221629"/>
                <a:gd name="connsiteY19" fmla="*/ 133689 h 326992"/>
                <a:gd name="connsiteX20" fmla="*/ 170990 w 221629"/>
                <a:gd name="connsiteY20" fmla="*/ 131488 h 326992"/>
                <a:gd name="connsiteX21" fmla="*/ 180897 w 221629"/>
                <a:gd name="connsiteY21" fmla="*/ 98462 h 326992"/>
                <a:gd name="connsiteX22" fmla="*/ 184200 w 221629"/>
                <a:gd name="connsiteY22" fmla="*/ 37915 h 326992"/>
                <a:gd name="connsiteX23" fmla="*/ 186402 w 221629"/>
                <a:gd name="connsiteY23" fmla="*/ 12596 h 326992"/>
                <a:gd name="connsiteX24" fmla="*/ 208419 w 221629"/>
                <a:gd name="connsiteY24" fmla="*/ 486 h 32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1629" h="326992">
                  <a:moveTo>
                    <a:pt x="0" y="282959"/>
                  </a:moveTo>
                  <a:lnTo>
                    <a:pt x="149717" y="282959"/>
                  </a:lnTo>
                  <a:lnTo>
                    <a:pt x="149717" y="326992"/>
                  </a:lnTo>
                  <a:lnTo>
                    <a:pt x="0" y="326992"/>
                  </a:lnTo>
                  <a:close/>
                  <a:moveTo>
                    <a:pt x="208419" y="486"/>
                  </a:moveTo>
                  <a:cubicBezTo>
                    <a:pt x="216125" y="1587"/>
                    <a:pt x="221629" y="10394"/>
                    <a:pt x="221629" y="20301"/>
                  </a:cubicBezTo>
                  <a:cubicBezTo>
                    <a:pt x="221629" y="41218"/>
                    <a:pt x="221629" y="62133"/>
                    <a:pt x="221629" y="83050"/>
                  </a:cubicBezTo>
                  <a:cubicBezTo>
                    <a:pt x="221629" y="101764"/>
                    <a:pt x="221629" y="120479"/>
                    <a:pt x="221629" y="139193"/>
                  </a:cubicBezTo>
                  <a:cubicBezTo>
                    <a:pt x="221629" y="153505"/>
                    <a:pt x="218326" y="165613"/>
                    <a:pt x="209519" y="177723"/>
                  </a:cubicBezTo>
                  <a:cubicBezTo>
                    <a:pt x="189704" y="201942"/>
                    <a:pt x="129158" y="282303"/>
                    <a:pt x="129158" y="282303"/>
                  </a:cubicBezTo>
                  <a:lnTo>
                    <a:pt x="17971" y="280101"/>
                  </a:lnTo>
                  <a:cubicBezTo>
                    <a:pt x="17971" y="280101"/>
                    <a:pt x="17971" y="231664"/>
                    <a:pt x="17971" y="210749"/>
                  </a:cubicBezTo>
                  <a:cubicBezTo>
                    <a:pt x="17971" y="192034"/>
                    <a:pt x="24576" y="176622"/>
                    <a:pt x="35584" y="164513"/>
                  </a:cubicBezTo>
                  <a:cubicBezTo>
                    <a:pt x="62005" y="136991"/>
                    <a:pt x="88425" y="109471"/>
                    <a:pt x="115947" y="83050"/>
                  </a:cubicBezTo>
                  <a:cubicBezTo>
                    <a:pt x="122552" y="76445"/>
                    <a:pt x="134661" y="75344"/>
                    <a:pt x="141266" y="79747"/>
                  </a:cubicBezTo>
                  <a:cubicBezTo>
                    <a:pt x="155578" y="89655"/>
                    <a:pt x="154477" y="107269"/>
                    <a:pt x="144570" y="118277"/>
                  </a:cubicBezTo>
                  <a:cubicBezTo>
                    <a:pt x="128056" y="134790"/>
                    <a:pt x="111544" y="151303"/>
                    <a:pt x="96132" y="167815"/>
                  </a:cubicBezTo>
                  <a:cubicBezTo>
                    <a:pt x="89527" y="174420"/>
                    <a:pt x="89527" y="182127"/>
                    <a:pt x="95030" y="187630"/>
                  </a:cubicBezTo>
                  <a:cubicBezTo>
                    <a:pt x="99434" y="192034"/>
                    <a:pt x="110442" y="193135"/>
                    <a:pt x="114846" y="188732"/>
                  </a:cubicBezTo>
                  <a:cubicBezTo>
                    <a:pt x="133561" y="170017"/>
                    <a:pt x="151175" y="151303"/>
                    <a:pt x="169889" y="133689"/>
                  </a:cubicBezTo>
                  <a:cubicBezTo>
                    <a:pt x="170990" y="132588"/>
                    <a:pt x="170990" y="132588"/>
                    <a:pt x="170990" y="131488"/>
                  </a:cubicBezTo>
                  <a:cubicBezTo>
                    <a:pt x="177595" y="121579"/>
                    <a:pt x="180897" y="110571"/>
                    <a:pt x="180897" y="98462"/>
                  </a:cubicBezTo>
                  <a:cubicBezTo>
                    <a:pt x="180897" y="78647"/>
                    <a:pt x="183099" y="57730"/>
                    <a:pt x="184200" y="37915"/>
                  </a:cubicBezTo>
                  <a:cubicBezTo>
                    <a:pt x="185301" y="29108"/>
                    <a:pt x="184200" y="20301"/>
                    <a:pt x="186402" y="12596"/>
                  </a:cubicBezTo>
                  <a:cubicBezTo>
                    <a:pt x="188604" y="3789"/>
                    <a:pt x="199612" y="-1716"/>
                    <a:pt x="208419" y="486"/>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320C4DE4-0244-385E-22CB-36F8213C9CE7}"/>
                </a:ext>
              </a:extLst>
            </p:cNvPr>
            <p:cNvGrpSpPr/>
            <p:nvPr/>
          </p:nvGrpSpPr>
          <p:grpSpPr>
            <a:xfrm>
              <a:off x="2124123" y="4071821"/>
              <a:ext cx="299505" cy="230916"/>
              <a:chOff x="5236164" y="3478801"/>
              <a:chExt cx="124778" cy="96203"/>
            </a:xfrm>
          </p:grpSpPr>
          <p:sp>
            <p:nvSpPr>
              <p:cNvPr id="40" name="Freeform: Shape 39">
                <a:extLst>
                  <a:ext uri="{FF2B5EF4-FFF2-40B4-BE49-F238E27FC236}">
                    <a16:creationId xmlns:a16="http://schemas.microsoft.com/office/drawing/2014/main" id="{E813151A-A334-616A-99D9-1CE952517A91}"/>
                  </a:ext>
                </a:extLst>
              </p:cNvPr>
              <p:cNvSpPr/>
              <p:nvPr/>
            </p:nvSpPr>
            <p:spPr>
              <a:xfrm>
                <a:off x="5236164" y="3478801"/>
                <a:ext cx="66675" cy="66675"/>
              </a:xfrm>
              <a:custGeom>
                <a:avLst/>
                <a:gdLst>
                  <a:gd name="connsiteX0" fmla="*/ 64498 w 66675"/>
                  <a:gd name="connsiteY0" fmla="*/ 55926 h 66675"/>
                  <a:gd name="connsiteX1" fmla="*/ 7348 w 66675"/>
                  <a:gd name="connsiteY1" fmla="*/ 7348 h 66675"/>
                  <a:gd name="connsiteX2" fmla="*/ 64498 w 66675"/>
                  <a:gd name="connsiteY2" fmla="*/ 67356 h 66675"/>
                </a:gdLst>
                <a:ahLst/>
                <a:cxnLst>
                  <a:cxn ang="0">
                    <a:pos x="connsiteX0" y="connsiteY0"/>
                  </a:cxn>
                  <a:cxn ang="0">
                    <a:pos x="connsiteX1" y="connsiteY1"/>
                  </a:cxn>
                  <a:cxn ang="0">
                    <a:pos x="connsiteX2" y="connsiteY2"/>
                  </a:cxn>
                </a:cxnLst>
                <a:rect l="l" t="t" r="r" b="b"/>
                <a:pathLst>
                  <a:path w="66675" h="66675">
                    <a:moveTo>
                      <a:pt x="64498" y="55926"/>
                    </a:moveTo>
                    <a:cubicBezTo>
                      <a:pt x="64498" y="55926"/>
                      <a:pt x="61641" y="14968"/>
                      <a:pt x="7348" y="7348"/>
                    </a:cubicBezTo>
                    <a:cubicBezTo>
                      <a:pt x="7348" y="23541"/>
                      <a:pt x="17826" y="63546"/>
                      <a:pt x="64498" y="67356"/>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0EC7514F-5DDB-88D3-6C19-8B84643B588C}"/>
                  </a:ext>
                </a:extLst>
              </p:cNvPr>
              <p:cNvSpPr/>
              <p:nvPr/>
            </p:nvSpPr>
            <p:spPr>
              <a:xfrm>
                <a:off x="5294267" y="3478801"/>
                <a:ext cx="66675" cy="66675"/>
              </a:xfrm>
              <a:custGeom>
                <a:avLst/>
                <a:gdLst>
                  <a:gd name="connsiteX0" fmla="*/ 7348 w 66675"/>
                  <a:gd name="connsiteY0" fmla="*/ 55926 h 66675"/>
                  <a:gd name="connsiteX1" fmla="*/ 64498 w 66675"/>
                  <a:gd name="connsiteY1" fmla="*/ 7348 h 66675"/>
                  <a:gd name="connsiteX2" fmla="*/ 7348 w 66675"/>
                  <a:gd name="connsiteY2" fmla="*/ 67356 h 66675"/>
                </a:gdLst>
                <a:ahLst/>
                <a:cxnLst>
                  <a:cxn ang="0">
                    <a:pos x="connsiteX0" y="connsiteY0"/>
                  </a:cxn>
                  <a:cxn ang="0">
                    <a:pos x="connsiteX1" y="connsiteY1"/>
                  </a:cxn>
                  <a:cxn ang="0">
                    <a:pos x="connsiteX2" y="connsiteY2"/>
                  </a:cxn>
                </a:cxnLst>
                <a:rect l="l" t="t" r="r" b="b"/>
                <a:pathLst>
                  <a:path w="66675" h="66675">
                    <a:moveTo>
                      <a:pt x="7348" y="55926"/>
                    </a:moveTo>
                    <a:cubicBezTo>
                      <a:pt x="7348" y="55926"/>
                      <a:pt x="10206" y="14968"/>
                      <a:pt x="64498" y="7348"/>
                    </a:cubicBezTo>
                    <a:cubicBezTo>
                      <a:pt x="64498" y="23541"/>
                      <a:pt x="54021" y="63546"/>
                      <a:pt x="7348" y="67356"/>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0D8C0C9D-9995-19B9-F7D0-71C7F11CA000}"/>
                  </a:ext>
                </a:extLst>
              </p:cNvPr>
              <p:cNvSpPr/>
              <p:nvPr/>
            </p:nvSpPr>
            <p:spPr>
              <a:xfrm>
                <a:off x="5293314" y="3527379"/>
                <a:ext cx="9525" cy="47625"/>
              </a:xfrm>
              <a:custGeom>
                <a:avLst/>
                <a:gdLst>
                  <a:gd name="connsiteX0" fmla="*/ 7348 w 9525"/>
                  <a:gd name="connsiteY0" fmla="*/ 7348 h 47625"/>
                  <a:gd name="connsiteX1" fmla="*/ 7348 w 9525"/>
                  <a:gd name="connsiteY1" fmla="*/ 47353 h 47625"/>
                </a:gdLst>
                <a:ahLst/>
                <a:cxnLst>
                  <a:cxn ang="0">
                    <a:pos x="connsiteX0" y="connsiteY0"/>
                  </a:cxn>
                  <a:cxn ang="0">
                    <a:pos x="connsiteX1" y="connsiteY1"/>
                  </a:cxn>
                </a:cxnLst>
                <a:rect l="l" t="t" r="r" b="b"/>
                <a:pathLst>
                  <a:path w="9525" h="47625">
                    <a:moveTo>
                      <a:pt x="7348" y="7348"/>
                    </a:moveTo>
                    <a:lnTo>
                      <a:pt x="7348" y="4735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 name="Group 42">
            <a:extLst>
              <a:ext uri="{FF2B5EF4-FFF2-40B4-BE49-F238E27FC236}">
                <a16:creationId xmlns:a16="http://schemas.microsoft.com/office/drawing/2014/main" id="{89F3E0E3-0112-C923-4A47-12F49EB1DA25}"/>
              </a:ext>
            </a:extLst>
          </p:cNvPr>
          <p:cNvGrpSpPr>
            <a:grpSpLocks noChangeAspect="1"/>
          </p:cNvGrpSpPr>
          <p:nvPr/>
        </p:nvGrpSpPr>
        <p:grpSpPr>
          <a:xfrm>
            <a:off x="6391428" y="3926593"/>
            <a:ext cx="339583" cy="387761"/>
            <a:chOff x="9466699" y="4097763"/>
            <a:chExt cx="339583" cy="387761"/>
          </a:xfrm>
        </p:grpSpPr>
        <p:sp>
          <p:nvSpPr>
            <p:cNvPr id="44" name="Oval 43">
              <a:extLst>
                <a:ext uri="{FF2B5EF4-FFF2-40B4-BE49-F238E27FC236}">
                  <a16:creationId xmlns:a16="http://schemas.microsoft.com/office/drawing/2014/main" id="{01B2EF75-B376-8DB1-4A88-05EBE991828B}"/>
                </a:ext>
              </a:extLst>
            </p:cNvPr>
            <p:cNvSpPr/>
            <p:nvPr/>
          </p:nvSpPr>
          <p:spPr>
            <a:xfrm>
              <a:off x="9577682" y="4258604"/>
              <a:ext cx="228600" cy="226920"/>
            </a:xfrm>
            <a:prstGeom prst="ellipse">
              <a:avLst/>
            </a:pr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179C3022-E8F3-461C-0EB9-91318B871ED7}"/>
                </a:ext>
              </a:extLst>
            </p:cNvPr>
            <p:cNvSpPr/>
            <p:nvPr/>
          </p:nvSpPr>
          <p:spPr>
            <a:xfrm>
              <a:off x="9466699" y="4097763"/>
              <a:ext cx="249613" cy="351725"/>
            </a:xfrm>
            <a:custGeom>
              <a:avLst/>
              <a:gdLst>
                <a:gd name="connsiteX0" fmla="*/ 89263 w 209550"/>
                <a:gd name="connsiteY0" fmla="*/ 288336 h 295275"/>
                <a:gd name="connsiteX1" fmla="*/ 7348 w 209550"/>
                <a:gd name="connsiteY1" fmla="*/ 288336 h 295275"/>
                <a:gd name="connsiteX2" fmla="*/ 7348 w 209550"/>
                <a:gd name="connsiteY2" fmla="*/ 48306 h 295275"/>
                <a:gd name="connsiteX3" fmla="*/ 48306 w 209550"/>
                <a:gd name="connsiteY3" fmla="*/ 7348 h 295275"/>
                <a:gd name="connsiteX4" fmla="*/ 207373 w 209550"/>
                <a:gd name="connsiteY4" fmla="*/ 7348 h 295275"/>
                <a:gd name="connsiteX5" fmla="*/ 207373 w 209550"/>
                <a:gd name="connsiteY5" fmla="*/ 11498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50" h="295275">
                  <a:moveTo>
                    <a:pt x="89263" y="288336"/>
                  </a:moveTo>
                  <a:cubicBezTo>
                    <a:pt x="7348" y="288336"/>
                    <a:pt x="7348" y="288336"/>
                    <a:pt x="7348" y="288336"/>
                  </a:cubicBezTo>
                  <a:cubicBezTo>
                    <a:pt x="7348" y="48306"/>
                    <a:pt x="7348" y="48306"/>
                    <a:pt x="7348" y="48306"/>
                  </a:cubicBezTo>
                  <a:cubicBezTo>
                    <a:pt x="48306" y="7348"/>
                    <a:pt x="48306" y="7348"/>
                    <a:pt x="48306" y="7348"/>
                  </a:cubicBezTo>
                  <a:cubicBezTo>
                    <a:pt x="207373" y="7348"/>
                    <a:pt x="207373" y="7348"/>
                    <a:pt x="207373" y="7348"/>
                  </a:cubicBezTo>
                  <a:cubicBezTo>
                    <a:pt x="207373" y="114981"/>
                    <a:pt x="207373" y="114981"/>
                    <a:pt x="207373" y="11498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48" name="Graphic 208">
              <a:extLst>
                <a:ext uri="{FF2B5EF4-FFF2-40B4-BE49-F238E27FC236}">
                  <a16:creationId xmlns:a16="http://schemas.microsoft.com/office/drawing/2014/main" id="{4988434D-500B-15A2-438F-CCB4EA52B08F}"/>
                </a:ext>
              </a:extLst>
            </p:cNvPr>
            <p:cNvGrpSpPr/>
            <p:nvPr/>
          </p:nvGrpSpPr>
          <p:grpSpPr>
            <a:xfrm>
              <a:off x="9635770" y="4316334"/>
              <a:ext cx="112424" cy="111460"/>
              <a:chOff x="6112668" y="3482816"/>
              <a:chExt cx="199548" cy="197834"/>
            </a:xfrm>
            <a:noFill/>
          </p:grpSpPr>
          <p:sp>
            <p:nvSpPr>
              <p:cNvPr id="78" name="Freeform: Shape 77">
                <a:extLst>
                  <a:ext uri="{FF2B5EF4-FFF2-40B4-BE49-F238E27FC236}">
                    <a16:creationId xmlns:a16="http://schemas.microsoft.com/office/drawing/2014/main" id="{74B96D8B-296D-8682-080A-C51BB333D072}"/>
                  </a:ext>
                </a:extLst>
              </p:cNvPr>
              <p:cNvSpPr/>
              <p:nvPr/>
            </p:nvSpPr>
            <p:spPr>
              <a:xfrm>
                <a:off x="6128765" y="3497961"/>
                <a:ext cx="162687" cy="163829"/>
              </a:xfrm>
              <a:custGeom>
                <a:avLst/>
                <a:gdLst>
                  <a:gd name="connsiteX0" fmla="*/ 0 w 162687"/>
                  <a:gd name="connsiteY0" fmla="*/ 81915 h 163829"/>
                  <a:gd name="connsiteX1" fmla="*/ 81344 w 162687"/>
                  <a:gd name="connsiteY1" fmla="*/ 0 h 163829"/>
                  <a:gd name="connsiteX2" fmla="*/ 162687 w 162687"/>
                  <a:gd name="connsiteY2" fmla="*/ 81915 h 163829"/>
                  <a:gd name="connsiteX3" fmla="*/ 81344 w 162687"/>
                  <a:gd name="connsiteY3" fmla="*/ 163830 h 163829"/>
                  <a:gd name="connsiteX4" fmla="*/ 0 w 162687"/>
                  <a:gd name="connsiteY4" fmla="*/ 81915 h 163829"/>
                  <a:gd name="connsiteX5" fmla="*/ 0 w 162687"/>
                  <a:gd name="connsiteY5" fmla="*/ 81915 h 163829"/>
                  <a:gd name="connsiteX6" fmla="*/ 0 w 162687"/>
                  <a:gd name="connsiteY6" fmla="*/ 81915 h 163829"/>
                  <a:gd name="connsiteX7" fmla="*/ 0 w 162687"/>
                  <a:gd name="connsiteY7" fmla="*/ 81915 h 16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687" h="163829">
                    <a:moveTo>
                      <a:pt x="0" y="81915"/>
                    </a:moveTo>
                    <a:cubicBezTo>
                      <a:pt x="0" y="36671"/>
                      <a:pt x="35909" y="0"/>
                      <a:pt x="81344" y="0"/>
                    </a:cubicBezTo>
                    <a:cubicBezTo>
                      <a:pt x="125825" y="0"/>
                      <a:pt x="162687" y="36766"/>
                      <a:pt x="162687" y="81915"/>
                    </a:cubicBezTo>
                    <a:cubicBezTo>
                      <a:pt x="162687" y="127064"/>
                      <a:pt x="126778" y="163830"/>
                      <a:pt x="81344" y="163830"/>
                    </a:cubicBezTo>
                    <a:cubicBezTo>
                      <a:pt x="36862" y="163830"/>
                      <a:pt x="0" y="127159"/>
                      <a:pt x="0" y="81915"/>
                    </a:cubicBezTo>
                    <a:lnTo>
                      <a:pt x="0" y="81915"/>
                    </a:lnTo>
                    <a:lnTo>
                      <a:pt x="0" y="81915"/>
                    </a:lnTo>
                    <a:lnTo>
                      <a:pt x="0" y="81915"/>
                    </a:lnTo>
                    <a:close/>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66BEFD9C-E130-CDF3-2906-32A64E0BB594}"/>
                  </a:ext>
                </a:extLst>
              </p:cNvPr>
              <p:cNvSpPr/>
              <p:nvPr/>
            </p:nvSpPr>
            <p:spPr>
              <a:xfrm>
                <a:off x="6243256" y="3482911"/>
                <a:ext cx="7524" cy="21621"/>
              </a:xfrm>
              <a:custGeom>
                <a:avLst/>
                <a:gdLst>
                  <a:gd name="connsiteX0" fmla="*/ 7525 w 7524"/>
                  <a:gd name="connsiteY0" fmla="*/ 0 h 21621"/>
                  <a:gd name="connsiteX1" fmla="*/ 0 w 7524"/>
                  <a:gd name="connsiteY1" fmla="*/ 21622 h 21621"/>
                </a:gdLst>
                <a:ahLst/>
                <a:cxnLst>
                  <a:cxn ang="0">
                    <a:pos x="connsiteX0" y="connsiteY0"/>
                  </a:cxn>
                  <a:cxn ang="0">
                    <a:pos x="connsiteX1" y="connsiteY1"/>
                  </a:cxn>
                </a:cxnLst>
                <a:rect l="l" t="t" r="r" b="b"/>
                <a:pathLst>
                  <a:path w="7524" h="21621">
                    <a:moveTo>
                      <a:pt x="7525" y="0"/>
                    </a:moveTo>
                    <a:cubicBezTo>
                      <a:pt x="0" y="21622"/>
                      <a:pt x="0" y="21622"/>
                      <a:pt x="0" y="21622"/>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0345303A-1F6E-5E37-670E-39110B5F3AA6}"/>
                  </a:ext>
                </a:extLst>
              </p:cNvPr>
              <p:cNvSpPr/>
              <p:nvPr/>
            </p:nvSpPr>
            <p:spPr>
              <a:xfrm>
                <a:off x="6285737" y="3541299"/>
                <a:ext cx="26479" cy="8477"/>
              </a:xfrm>
              <a:custGeom>
                <a:avLst/>
                <a:gdLst>
                  <a:gd name="connsiteX0" fmla="*/ 26480 w 26479"/>
                  <a:gd name="connsiteY0" fmla="*/ 0 h 8477"/>
                  <a:gd name="connsiteX1" fmla="*/ 0 w 26479"/>
                  <a:gd name="connsiteY1" fmla="*/ 8477 h 8477"/>
                </a:gdLst>
                <a:ahLst/>
                <a:cxnLst>
                  <a:cxn ang="0">
                    <a:pos x="connsiteX0" y="connsiteY0"/>
                  </a:cxn>
                  <a:cxn ang="0">
                    <a:pos x="connsiteX1" y="connsiteY1"/>
                  </a:cxn>
                </a:cxnLst>
                <a:rect l="l" t="t" r="r" b="b"/>
                <a:pathLst>
                  <a:path w="26479" h="8477">
                    <a:moveTo>
                      <a:pt x="26480" y="0"/>
                    </a:moveTo>
                    <a:cubicBezTo>
                      <a:pt x="0" y="8477"/>
                      <a:pt x="0" y="8477"/>
                      <a:pt x="0" y="8477"/>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EC1AD91-5158-E2FC-CAC5-1E2EACB60330}"/>
                  </a:ext>
                </a:extLst>
              </p:cNvPr>
              <p:cNvSpPr/>
              <p:nvPr/>
            </p:nvSpPr>
            <p:spPr>
              <a:xfrm>
                <a:off x="6284785" y="3610927"/>
                <a:ext cx="26479" cy="10382"/>
              </a:xfrm>
              <a:custGeom>
                <a:avLst/>
                <a:gdLst>
                  <a:gd name="connsiteX0" fmla="*/ 0 w 26479"/>
                  <a:gd name="connsiteY0" fmla="*/ 0 h 10382"/>
                  <a:gd name="connsiteX1" fmla="*/ 26479 w 26479"/>
                  <a:gd name="connsiteY1" fmla="*/ 10382 h 10382"/>
                </a:gdLst>
                <a:ahLst/>
                <a:cxnLst>
                  <a:cxn ang="0">
                    <a:pos x="connsiteX0" y="connsiteY0"/>
                  </a:cxn>
                  <a:cxn ang="0">
                    <a:pos x="connsiteX1" y="connsiteY1"/>
                  </a:cxn>
                </a:cxnLst>
                <a:rect l="l" t="t" r="r" b="b"/>
                <a:pathLst>
                  <a:path w="26479" h="10382">
                    <a:moveTo>
                      <a:pt x="0" y="0"/>
                    </a:moveTo>
                    <a:cubicBezTo>
                      <a:pt x="26479" y="10382"/>
                      <a:pt x="26479" y="10382"/>
                      <a:pt x="26479" y="10382"/>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FCE52F6D-49E4-795F-5E99-3BFCE0F18C5C}"/>
                  </a:ext>
                </a:extLst>
              </p:cNvPr>
              <p:cNvSpPr/>
              <p:nvPr/>
            </p:nvSpPr>
            <p:spPr>
              <a:xfrm>
                <a:off x="6242304" y="3655218"/>
                <a:ext cx="12287" cy="24479"/>
              </a:xfrm>
              <a:custGeom>
                <a:avLst/>
                <a:gdLst>
                  <a:gd name="connsiteX0" fmla="*/ 12287 w 12287"/>
                  <a:gd name="connsiteY0" fmla="*/ 24479 h 24479"/>
                  <a:gd name="connsiteX1" fmla="*/ 0 w 12287"/>
                  <a:gd name="connsiteY1" fmla="*/ 0 h 24479"/>
                </a:gdLst>
                <a:ahLst/>
                <a:cxnLst>
                  <a:cxn ang="0">
                    <a:pos x="connsiteX0" y="connsiteY0"/>
                  </a:cxn>
                  <a:cxn ang="0">
                    <a:pos x="connsiteX1" y="connsiteY1"/>
                  </a:cxn>
                </a:cxnLst>
                <a:rect l="l" t="t" r="r" b="b"/>
                <a:pathLst>
                  <a:path w="12287" h="24479">
                    <a:moveTo>
                      <a:pt x="12287" y="24479"/>
                    </a:moveTo>
                    <a:cubicBezTo>
                      <a:pt x="0" y="0"/>
                      <a:pt x="0" y="0"/>
                      <a:pt x="0"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3B052C9-9316-7498-DEC5-4601B9E03829}"/>
                  </a:ext>
                </a:extLst>
              </p:cNvPr>
              <p:cNvSpPr/>
              <p:nvPr/>
            </p:nvSpPr>
            <p:spPr>
              <a:xfrm>
                <a:off x="6171247" y="3656171"/>
                <a:ext cx="10477" cy="24479"/>
              </a:xfrm>
              <a:custGeom>
                <a:avLst/>
                <a:gdLst>
                  <a:gd name="connsiteX0" fmla="*/ 0 w 10477"/>
                  <a:gd name="connsiteY0" fmla="*/ 24479 h 24479"/>
                  <a:gd name="connsiteX1" fmla="*/ 10477 w 10477"/>
                  <a:gd name="connsiteY1" fmla="*/ 0 h 24479"/>
                </a:gdLst>
                <a:ahLst/>
                <a:cxnLst>
                  <a:cxn ang="0">
                    <a:pos x="connsiteX0" y="connsiteY0"/>
                  </a:cxn>
                  <a:cxn ang="0">
                    <a:pos x="connsiteX1" y="connsiteY1"/>
                  </a:cxn>
                </a:cxnLst>
                <a:rect l="l" t="t" r="r" b="b"/>
                <a:pathLst>
                  <a:path w="10477" h="24479">
                    <a:moveTo>
                      <a:pt x="0" y="24479"/>
                    </a:moveTo>
                    <a:cubicBezTo>
                      <a:pt x="10477" y="0"/>
                      <a:pt x="10477" y="0"/>
                      <a:pt x="10477"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88E32FF3-5E6D-242D-518F-1AE2719560BB}"/>
                  </a:ext>
                </a:extLst>
              </p:cNvPr>
              <p:cNvSpPr/>
              <p:nvPr/>
            </p:nvSpPr>
            <p:spPr>
              <a:xfrm>
                <a:off x="6112668" y="3611880"/>
                <a:ext cx="23621" cy="9429"/>
              </a:xfrm>
              <a:custGeom>
                <a:avLst/>
                <a:gdLst>
                  <a:gd name="connsiteX0" fmla="*/ 0 w 23621"/>
                  <a:gd name="connsiteY0" fmla="*/ 9430 h 9429"/>
                  <a:gd name="connsiteX1" fmla="*/ 23622 w 23621"/>
                  <a:gd name="connsiteY1" fmla="*/ 0 h 9429"/>
                </a:gdLst>
                <a:ahLst/>
                <a:cxnLst>
                  <a:cxn ang="0">
                    <a:pos x="connsiteX0" y="connsiteY0"/>
                  </a:cxn>
                  <a:cxn ang="0">
                    <a:pos x="connsiteX1" y="connsiteY1"/>
                  </a:cxn>
                </a:cxnLst>
                <a:rect l="l" t="t" r="r" b="b"/>
                <a:pathLst>
                  <a:path w="23621" h="9429">
                    <a:moveTo>
                      <a:pt x="0" y="9430"/>
                    </a:moveTo>
                    <a:cubicBezTo>
                      <a:pt x="23622" y="0"/>
                      <a:pt x="23622" y="0"/>
                      <a:pt x="23622"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76B60207-DEA2-132B-6CAB-981425FA08E4}"/>
                  </a:ext>
                </a:extLst>
              </p:cNvPr>
              <p:cNvSpPr/>
              <p:nvPr/>
            </p:nvSpPr>
            <p:spPr>
              <a:xfrm>
                <a:off x="6112668" y="3541299"/>
                <a:ext cx="22669" cy="8477"/>
              </a:xfrm>
              <a:custGeom>
                <a:avLst/>
                <a:gdLst>
                  <a:gd name="connsiteX0" fmla="*/ 0 w 22669"/>
                  <a:gd name="connsiteY0" fmla="*/ 0 h 8477"/>
                  <a:gd name="connsiteX1" fmla="*/ 22670 w 22669"/>
                  <a:gd name="connsiteY1" fmla="*/ 8477 h 8477"/>
                </a:gdLst>
                <a:ahLst/>
                <a:cxnLst>
                  <a:cxn ang="0">
                    <a:pos x="connsiteX0" y="connsiteY0"/>
                  </a:cxn>
                  <a:cxn ang="0">
                    <a:pos x="connsiteX1" y="connsiteY1"/>
                  </a:cxn>
                </a:cxnLst>
                <a:rect l="l" t="t" r="r" b="b"/>
                <a:pathLst>
                  <a:path w="22669" h="8477">
                    <a:moveTo>
                      <a:pt x="0" y="0"/>
                    </a:moveTo>
                    <a:cubicBezTo>
                      <a:pt x="22670" y="8477"/>
                      <a:pt x="22670" y="8477"/>
                      <a:pt x="22670" y="8477"/>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418C80F5-05BE-E07C-5B24-AC2736E25B5F}"/>
                  </a:ext>
                </a:extLst>
              </p:cNvPr>
              <p:cNvSpPr/>
              <p:nvPr/>
            </p:nvSpPr>
            <p:spPr>
              <a:xfrm>
                <a:off x="6170390" y="3482816"/>
                <a:ext cx="10382" cy="20764"/>
              </a:xfrm>
              <a:custGeom>
                <a:avLst/>
                <a:gdLst>
                  <a:gd name="connsiteX0" fmla="*/ 10382 w 10382"/>
                  <a:gd name="connsiteY0" fmla="*/ 20765 h 20764"/>
                  <a:gd name="connsiteX1" fmla="*/ 0 w 10382"/>
                  <a:gd name="connsiteY1" fmla="*/ 0 h 20764"/>
                </a:gdLst>
                <a:ahLst/>
                <a:cxnLst>
                  <a:cxn ang="0">
                    <a:pos x="connsiteX0" y="connsiteY0"/>
                  </a:cxn>
                  <a:cxn ang="0">
                    <a:pos x="connsiteX1" y="connsiteY1"/>
                  </a:cxn>
                </a:cxnLst>
                <a:rect l="l" t="t" r="r" b="b"/>
                <a:pathLst>
                  <a:path w="10382" h="20764">
                    <a:moveTo>
                      <a:pt x="10382" y="20765"/>
                    </a:moveTo>
                    <a:cubicBezTo>
                      <a:pt x="0" y="0"/>
                      <a:pt x="0" y="0"/>
                      <a:pt x="0" y="0"/>
                    </a:cubicBezTo>
                  </a:path>
                </a:pathLst>
              </a:custGeom>
              <a:noFill/>
              <a:ln w="12700" cap="sq">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pic>
        <p:nvPicPr>
          <p:cNvPr id="88" name="Picture 87">
            <a:extLst>
              <a:ext uri="{FF2B5EF4-FFF2-40B4-BE49-F238E27FC236}">
                <a16:creationId xmlns:a16="http://schemas.microsoft.com/office/drawing/2014/main" id="{56F1AC94-8D7B-4195-D0D3-108879E8E26D}"/>
              </a:ext>
            </a:extLst>
          </p:cNvPr>
          <p:cNvPicPr>
            <a:picLocks noChangeAspect="1"/>
          </p:cNvPicPr>
          <p:nvPr/>
        </p:nvPicPr>
        <p:blipFill>
          <a:blip r:embed="rId6"/>
          <a:stretch>
            <a:fillRect/>
          </a:stretch>
        </p:blipFill>
        <p:spPr>
          <a:xfrm>
            <a:off x="9327723" y="2260754"/>
            <a:ext cx="2291589" cy="1409675"/>
          </a:xfrm>
          <a:prstGeom prst="rect">
            <a:avLst/>
          </a:prstGeom>
        </p:spPr>
      </p:pic>
      <p:pic>
        <p:nvPicPr>
          <p:cNvPr id="90" name="Picture 89">
            <a:extLst>
              <a:ext uri="{FF2B5EF4-FFF2-40B4-BE49-F238E27FC236}">
                <a16:creationId xmlns:a16="http://schemas.microsoft.com/office/drawing/2014/main" id="{D9A17500-58D7-42FB-66F9-E24CD0816058}"/>
              </a:ext>
            </a:extLst>
          </p:cNvPr>
          <p:cNvPicPr>
            <a:picLocks noChangeAspect="1"/>
          </p:cNvPicPr>
          <p:nvPr/>
        </p:nvPicPr>
        <p:blipFill>
          <a:blip r:embed="rId7"/>
          <a:stretch>
            <a:fillRect/>
          </a:stretch>
        </p:blipFill>
        <p:spPr>
          <a:xfrm>
            <a:off x="3162402" y="2268854"/>
            <a:ext cx="2625305" cy="1340236"/>
          </a:xfrm>
          <a:prstGeom prst="rect">
            <a:avLst/>
          </a:prstGeom>
        </p:spPr>
      </p:pic>
      <p:sp>
        <p:nvSpPr>
          <p:cNvPr id="5" name="Footer Placeholder 4">
            <a:extLst>
              <a:ext uri="{FF2B5EF4-FFF2-40B4-BE49-F238E27FC236}">
                <a16:creationId xmlns:a16="http://schemas.microsoft.com/office/drawing/2014/main" id="{C889F3CC-105A-DE67-A98B-1A6A9F9D1179}"/>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815473112"/>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p:nvPr>
        </p:nvSpPr>
        <p:spPr/>
        <p:txBody>
          <a:bodyPr/>
          <a:lstStyle/>
          <a:p>
            <a:r>
              <a:rPr lang="en-US"/>
              <a:t>Conditions and terms of use</a:t>
            </a:r>
          </a:p>
        </p:txBody>
      </p:sp>
      <p:sp>
        <p:nvSpPr>
          <p:cNvPr id="7" name="Rectangle 6">
            <a:extLst>
              <a:ext uri="{FF2B5EF4-FFF2-40B4-BE49-F238E27FC236}">
                <a16:creationId xmlns:a16="http://schemas.microsoft.com/office/drawing/2014/main" id="{C30D5E87-BF27-48B8-9B35-B55C04B9CBAE}"/>
              </a:ext>
            </a:extLst>
          </p:cNvPr>
          <p:cNvSpPr/>
          <p:nvPr/>
        </p:nvSpPr>
        <p:spPr bwMode="auto">
          <a:xfrm>
            <a:off x="571500" y="1574244"/>
            <a:ext cx="11049000" cy="3632756"/>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a:spcBef>
                <a:spcPts val="600"/>
              </a:spcBef>
              <a:spcAft>
                <a:spcPts val="600"/>
              </a:spcAft>
              <a:defRPr/>
            </a:pPr>
            <a:r>
              <a:rPr lang="en-US">
                <a:solidFill>
                  <a:schemeClr val="tx1"/>
                </a:solidFill>
                <a:cs typeface="Segoe UI Semibold"/>
              </a:rPr>
              <a:t>© Microsoft Corporation. All rights reserved.</a:t>
            </a:r>
            <a:endParaRPr lang="en-US">
              <a:solidFill>
                <a:schemeClr val="tx1"/>
              </a:solidFill>
              <a:cs typeface="Segoe UI Semibold" panose="020B0702040204020203" pitchFamily="34" charset="0"/>
            </a:endParaRPr>
          </a:p>
          <a:p>
            <a:pPr algn="ctr" defTabSz="914102">
              <a:spcBef>
                <a:spcPts val="600"/>
              </a:spcBef>
              <a:spcAft>
                <a:spcPts val="600"/>
              </a:spcAft>
              <a:defRPr/>
            </a:pPr>
            <a:r>
              <a:rPr lang="en-US">
                <a:solidFill>
                  <a:schemeClr val="tx1"/>
                </a:solidFill>
                <a:cs typeface="Segoe UI Semibold"/>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r>
              <a:rPr lang="en-US" baseline="30000">
                <a:solidFill>
                  <a:schemeClr val="tx1"/>
                </a:solidFill>
                <a:cs typeface="Segoe UI Semibold"/>
              </a:rPr>
              <a:t>1</a:t>
            </a:r>
            <a:endParaRPr lang="en-US" b="0" i="0" u="none" strike="noStrike" kern="1200" cap="none" spc="0" normalizeH="0" baseline="30000" noProof="0">
              <a:ln>
                <a:noFill/>
              </a:ln>
              <a:solidFill>
                <a:schemeClr val="tx1"/>
              </a:solidFill>
              <a:effectLst/>
              <a:uLnTx/>
              <a:uFillTx/>
              <a:cs typeface="Segoe UI Semibold"/>
            </a:endParaRPr>
          </a:p>
        </p:txBody>
      </p:sp>
      <p:grpSp>
        <p:nvGrpSpPr>
          <p:cNvPr id="8" name="Group 7">
            <a:extLst>
              <a:ext uri="{FF2B5EF4-FFF2-40B4-BE49-F238E27FC236}">
                <a16:creationId xmlns:a16="http://schemas.microsoft.com/office/drawing/2014/main" id="{DE823F62-E09A-466D-A142-2BCF56FBE584}"/>
              </a:ext>
              <a:ext uri="{C183D7F6-B498-43B3-948B-1728B52AA6E4}">
                <adec:decorative xmlns:adec="http://schemas.microsoft.com/office/drawing/2017/decorative" val="1"/>
              </a:ext>
            </a:extLst>
          </p:cNvPr>
          <p:cNvGrpSpPr/>
          <p:nvPr/>
        </p:nvGrpSpPr>
        <p:grpSpPr>
          <a:xfrm>
            <a:off x="571500" y="1574244"/>
            <a:ext cx="11049000" cy="3632756"/>
            <a:chOff x="571500" y="1574244"/>
            <a:chExt cx="11049000" cy="3632756"/>
          </a:xfrm>
        </p:grpSpPr>
        <p:sp>
          <p:nvSpPr>
            <p:cNvPr id="9" name="Half Frame 8">
              <a:extLst>
                <a:ext uri="{FF2B5EF4-FFF2-40B4-BE49-F238E27FC236}">
                  <a16:creationId xmlns:a16="http://schemas.microsoft.com/office/drawing/2014/main" id="{B1F83F9C-3EE7-440E-B6ED-3AE225C18EC6}"/>
                </a:ext>
                <a:ext uri="{C183D7F6-B498-43B3-948B-1728B52AA6E4}">
                  <adec:decorative xmlns:adec="http://schemas.microsoft.com/office/drawing/2017/decorative" val="1"/>
                </a:ext>
              </a:extLst>
            </p:cNvPr>
            <p:cNvSpPr/>
            <p:nvPr/>
          </p:nvSpPr>
          <p:spPr bwMode="auto">
            <a:xfrm rot="5400000" flipV="1">
              <a:off x="581472" y="1564272"/>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Half Frame 9">
              <a:extLst>
                <a:ext uri="{FF2B5EF4-FFF2-40B4-BE49-F238E27FC236}">
                  <a16:creationId xmlns:a16="http://schemas.microsoft.com/office/drawing/2014/main" id="{206932E9-4F7D-4000-972A-77B375DA6D88}"/>
                </a:ext>
                <a:ext uri="{C183D7F6-B498-43B3-948B-1728B52AA6E4}">
                  <adec:decorative xmlns:adec="http://schemas.microsoft.com/office/drawing/2017/decorative" val="1"/>
                </a:ext>
              </a:extLst>
            </p:cNvPr>
            <p:cNvSpPr/>
            <p:nvPr/>
          </p:nvSpPr>
          <p:spPr bwMode="auto">
            <a:xfrm rot="10800000">
              <a:off x="11192768" y="4759325"/>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9" name="Footer Placeholder 2">
            <a:extLst>
              <a:ext uri="{FF2B5EF4-FFF2-40B4-BE49-F238E27FC236}">
                <a16:creationId xmlns:a16="http://schemas.microsoft.com/office/drawing/2014/main" id="{A04B054A-A721-4144-96FE-966534FB355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Slide Number Placeholder 12">
            <a:extLst>
              <a:ext uri="{FF2B5EF4-FFF2-40B4-BE49-F238E27FC236}">
                <a16:creationId xmlns:a16="http://schemas.microsoft.com/office/drawing/2014/main" id="{C94FEEB5-7104-458C-8C7F-BD5D4C6A13B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901977838"/>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Innovation Backlog - Ideas</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337805"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r>
              <a:rPr lang="en-US" sz="2000">
                <a:cs typeface="Segoe UI"/>
              </a:rPr>
              <a:t>Use the Innovation Backlog app to ask users to submit ideas for apps and flows that need building and describe pain points with the current process. As users describe the process, they'll provide information about personas involved, tools used, and measures for improvement. This information is then used to calculate an ROI and complexity score</a:t>
            </a:r>
            <a:endParaRPr lang="en-US">
              <a:cs typeface="Segoe UI"/>
            </a:endParaRPr>
          </a:p>
          <a:p>
            <a:pPr marL="310515" indent="-310515"/>
            <a:endParaRPr lang="en-US" sz="2000"/>
          </a:p>
          <a:p>
            <a:pPr marL="310515" indent="-310515"/>
            <a:r>
              <a:rPr lang="en-US" sz="2000">
                <a:cs typeface="Segoe UI"/>
              </a:rPr>
              <a:t>The theming components solution doesn't have a dependency on other components of the </a:t>
            </a:r>
            <a:r>
              <a:rPr lang="en-US" sz="2000" err="1">
                <a:cs typeface="Segoe UI"/>
              </a:rPr>
              <a:t>CoE</a:t>
            </a:r>
            <a:r>
              <a:rPr lang="en-US" sz="2000">
                <a:cs typeface="Segoe UI"/>
              </a:rPr>
              <a:t> Starter Kit, so it can be used independently.</a:t>
            </a: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err="1">
                <a:solidFill>
                  <a:schemeClr val="tx2">
                    <a:lumMod val="50000"/>
                  </a:schemeClr>
                </a:solidFill>
                <a:latin typeface="+mn-lt"/>
              </a:rPr>
              <a:t>CoE</a:t>
            </a:r>
            <a:r>
              <a:rPr lang="en-GB" sz="2000">
                <a:solidFill>
                  <a:schemeClr val="tx2">
                    <a:lumMod val="50000"/>
                  </a:schemeClr>
                </a:solidFill>
                <a:latin typeface="+mn-lt"/>
              </a:rPr>
              <a:t> Starter Kit Standalone Add-ons</a:t>
            </a:r>
            <a:endParaRPr lang="LID4096" sz="2000"/>
          </a:p>
        </p:txBody>
      </p:sp>
      <p:pic>
        <p:nvPicPr>
          <p:cNvPr id="5" name="Picture 4">
            <a:extLst>
              <a:ext uri="{FF2B5EF4-FFF2-40B4-BE49-F238E27FC236}">
                <a16:creationId xmlns:a16="http://schemas.microsoft.com/office/drawing/2014/main" id="{B6749DAB-46AF-4069-AB9D-73BBC5429B0A}"/>
              </a:ext>
            </a:extLst>
          </p:cNvPr>
          <p:cNvPicPr>
            <a:picLocks noChangeAspect="1"/>
          </p:cNvPicPr>
          <p:nvPr/>
        </p:nvPicPr>
        <p:blipFill>
          <a:blip r:embed="rId5"/>
          <a:stretch>
            <a:fillRect/>
          </a:stretch>
        </p:blipFill>
        <p:spPr>
          <a:xfrm>
            <a:off x="6198557" y="1408114"/>
            <a:ext cx="5993443" cy="3603356"/>
          </a:xfrm>
          <a:prstGeom prst="rect">
            <a:avLst/>
          </a:prstGeom>
        </p:spPr>
      </p:pic>
      <p:sp>
        <p:nvSpPr>
          <p:cNvPr id="6" name="Footer Placeholder 4">
            <a:extLst>
              <a:ext uri="{FF2B5EF4-FFF2-40B4-BE49-F238E27FC236}">
                <a16:creationId xmlns:a16="http://schemas.microsoft.com/office/drawing/2014/main" id="{6DF25F33-EF52-C1B7-6DCD-ABBCCEE6728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002577048"/>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ALM Accelerator for </a:t>
            </a:r>
            <a:r>
              <a:rPr lang="en-FI" noProof="1">
                <a:solidFill>
                  <a:srgbClr val="243A5E"/>
                </a:solidFill>
              </a:rPr>
              <a:t>Power Platform (AA4PP)</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9" y="1408114"/>
            <a:ext cx="4958352"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1200"/>
              </a:spcBef>
              <a:spcAft>
                <a:spcPts val="1200"/>
              </a:spcAft>
            </a:pPr>
            <a:r>
              <a:rPr lang="en-FI" sz="1800">
                <a:cs typeface="Segoe UI"/>
              </a:rPr>
              <a:t>Enable </a:t>
            </a:r>
            <a:r>
              <a:rPr lang="en-US" sz="1800">
                <a:cs typeface="Segoe UI"/>
              </a:rPr>
              <a:t>makers to apply source-control strategies with Azure DevOps, and use automated builds and deployment of solutions to their environments without the need for manual intervention by the maker, administrator, developer, or tester. </a:t>
            </a:r>
            <a:endParaRPr lang="en-FI" sz="1800">
              <a:cs typeface="Segoe UI"/>
            </a:endParaRPr>
          </a:p>
          <a:p>
            <a:pPr marL="310515" indent="-310515">
              <a:spcBef>
                <a:spcPts val="1200"/>
              </a:spcBef>
              <a:spcAft>
                <a:spcPts val="1200"/>
              </a:spcAft>
            </a:pPr>
            <a:r>
              <a:rPr lang="en-FI" sz="1800">
                <a:cs typeface="Segoe UI"/>
              </a:rPr>
              <a:t>H</a:t>
            </a:r>
            <a:r>
              <a:rPr lang="en-US" sz="1800" err="1">
                <a:cs typeface="Segoe UI"/>
              </a:rPr>
              <a:t>elps</a:t>
            </a:r>
            <a:r>
              <a:rPr lang="en-US" sz="1800">
                <a:cs typeface="Segoe UI"/>
              </a:rPr>
              <a:t> makers work without intimate knowledge of downstream technologies and switch quickly from developing solutions to source-controlling the solution and, ultimately, pushing their apps to other environments with as few interruptions to their work as possible.</a:t>
            </a: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err="1">
                <a:solidFill>
                  <a:schemeClr val="tx2">
                    <a:lumMod val="50000"/>
                  </a:schemeClr>
                </a:solidFill>
                <a:latin typeface="+mn-lt"/>
              </a:rPr>
              <a:t>CoE</a:t>
            </a:r>
            <a:r>
              <a:rPr lang="en-GB" sz="2000">
                <a:solidFill>
                  <a:schemeClr val="tx2">
                    <a:lumMod val="50000"/>
                  </a:schemeClr>
                </a:solidFill>
                <a:latin typeface="+mn-lt"/>
              </a:rPr>
              <a:t> Starter Kit Standalone Add-ons</a:t>
            </a:r>
            <a:endParaRPr lang="LID4096" sz="2000"/>
          </a:p>
        </p:txBody>
      </p:sp>
      <p:pic>
        <p:nvPicPr>
          <p:cNvPr id="7" name="Picture 6">
            <a:extLst>
              <a:ext uri="{FF2B5EF4-FFF2-40B4-BE49-F238E27FC236}">
                <a16:creationId xmlns:a16="http://schemas.microsoft.com/office/drawing/2014/main" id="{58F8BC20-5A77-8A44-BC74-585E1183B745}"/>
              </a:ext>
            </a:extLst>
          </p:cNvPr>
          <p:cNvPicPr>
            <a:picLocks noChangeAspect="1"/>
          </p:cNvPicPr>
          <p:nvPr/>
        </p:nvPicPr>
        <p:blipFill>
          <a:blip r:embed="rId5"/>
          <a:stretch>
            <a:fillRect/>
          </a:stretch>
        </p:blipFill>
        <p:spPr>
          <a:xfrm>
            <a:off x="6257236" y="1408114"/>
            <a:ext cx="5864300" cy="2993765"/>
          </a:xfrm>
          <a:prstGeom prst="rect">
            <a:avLst/>
          </a:prstGeom>
        </p:spPr>
      </p:pic>
      <p:sp>
        <p:nvSpPr>
          <p:cNvPr id="5" name="Footer Placeholder 4">
            <a:extLst>
              <a:ext uri="{FF2B5EF4-FFF2-40B4-BE49-F238E27FC236}">
                <a16:creationId xmlns:a16="http://schemas.microsoft.com/office/drawing/2014/main" id="{63C11CB4-58A2-61A4-B4B1-FEDFB081C15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989338790"/>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DE4EC-AA67-4752-B822-4DC7FFAA5822}"/>
              </a:ext>
            </a:extLst>
          </p:cNvPr>
          <p:cNvSpPr>
            <a:spLocks noGrp="1"/>
          </p:cNvSpPr>
          <p:nvPr>
            <p:ph type="title"/>
          </p:nvPr>
        </p:nvSpPr>
        <p:spPr>
          <a:xfrm>
            <a:off x="455995" y="620428"/>
            <a:ext cx="11306469" cy="402674"/>
          </a:xfrm>
        </p:spPr>
        <p:txBody>
          <a:bodyPr/>
          <a:lstStyle/>
          <a:p>
            <a:r>
              <a:rPr lang="en-FI" sz="3200">
                <a:solidFill>
                  <a:srgbClr val="243A5E"/>
                </a:solidFill>
              </a:rPr>
              <a:t>Admin</a:t>
            </a:r>
            <a:r>
              <a:rPr lang="en-US" sz="3200">
                <a:solidFill>
                  <a:srgbClr val="243A5E"/>
                </a:solidFill>
              </a:rPr>
              <a:t>is</a:t>
            </a:r>
            <a:r>
              <a:rPr lang="en-FI" sz="3200" err="1">
                <a:solidFill>
                  <a:srgbClr val="243A5E"/>
                </a:solidFill>
              </a:rPr>
              <a:t>tration</a:t>
            </a:r>
            <a:r>
              <a:rPr lang="en-FI" sz="3200">
                <a:solidFill>
                  <a:srgbClr val="243A5E"/>
                </a:solidFill>
              </a:rPr>
              <a:t> Planning</a:t>
            </a:r>
            <a:endParaRPr lang="en-GB" sz="3200">
              <a:solidFill>
                <a:srgbClr val="243A5E"/>
              </a:solidFill>
            </a:endParaRPr>
          </a:p>
        </p:txBody>
      </p:sp>
      <p:sp>
        <p:nvSpPr>
          <p:cNvPr id="3" name="Text Placeholder 2">
            <a:extLst>
              <a:ext uri="{FF2B5EF4-FFF2-40B4-BE49-F238E27FC236}">
                <a16:creationId xmlns:a16="http://schemas.microsoft.com/office/drawing/2014/main" id="{2D9B236A-4A45-4B1F-B7E4-65CC3F516789}"/>
              </a:ext>
            </a:extLst>
          </p:cNvPr>
          <p:cNvSpPr>
            <a:spLocks noGrp="1"/>
          </p:cNvSpPr>
          <p:nvPr>
            <p:ph type="body" sz="quarter" idx="10"/>
          </p:nvPr>
        </p:nvSpPr>
        <p:spPr>
          <a:xfrm>
            <a:off x="455994" y="1620984"/>
            <a:ext cx="6104604" cy="3976410"/>
          </a:xfrm>
        </p:spPr>
        <p:txBody>
          <a:bodyPr/>
          <a:lstStyle/>
          <a:p>
            <a:pPr>
              <a:spcBef>
                <a:spcPts val="0"/>
              </a:spcBef>
              <a:spcAft>
                <a:spcPts val="600"/>
              </a:spcAft>
            </a:pPr>
            <a:r>
              <a:rPr lang="en-US" sz="1800">
                <a:solidFill>
                  <a:schemeClr val="tx2">
                    <a:lumMod val="50000"/>
                  </a:schemeClr>
                </a:solidFill>
                <a:latin typeface="+mn-lt"/>
              </a:rPr>
              <a:t>Behind the scenes, your IT and Center of Excellence team spends time configuring, managing and nurturing the adoption of Microsoft Power Platform.</a:t>
            </a:r>
            <a:r>
              <a:rPr lang="en-FI" sz="1800">
                <a:solidFill>
                  <a:schemeClr val="tx2">
                    <a:lumMod val="50000"/>
                  </a:schemeClr>
                </a:solidFill>
                <a:latin typeface="+mn-lt"/>
              </a:rPr>
              <a:t> </a:t>
            </a:r>
            <a:r>
              <a:rPr lang="en-US" sz="1800">
                <a:solidFill>
                  <a:schemeClr val="tx2">
                    <a:lumMod val="50000"/>
                  </a:schemeClr>
                </a:solidFill>
                <a:latin typeface="+mn-lt"/>
              </a:rPr>
              <a:t>Understanding how that time is spent can help you plan who you need on your team and find the highest-impact opportunities to streamline the administrative effort.</a:t>
            </a:r>
          </a:p>
          <a:p>
            <a:pPr>
              <a:spcBef>
                <a:spcPts val="0"/>
              </a:spcBef>
              <a:spcAft>
                <a:spcPts val="600"/>
              </a:spcAft>
            </a:pPr>
            <a:endParaRPr lang="en-US" sz="1800">
              <a:solidFill>
                <a:schemeClr val="tx2">
                  <a:lumMod val="50000"/>
                </a:schemeClr>
              </a:solidFill>
              <a:latin typeface="+mn-lt"/>
            </a:endParaRPr>
          </a:p>
          <a:p>
            <a:pPr>
              <a:spcBef>
                <a:spcPts val="0"/>
              </a:spcBef>
              <a:spcAft>
                <a:spcPts val="600"/>
              </a:spcAft>
            </a:pPr>
            <a:r>
              <a:rPr lang="en-US" sz="1800">
                <a:solidFill>
                  <a:schemeClr val="tx2">
                    <a:lumMod val="50000"/>
                  </a:schemeClr>
                </a:solidFill>
                <a:latin typeface="+mn-lt"/>
              </a:rPr>
              <a:t>Microsoft Power Platform administration planning is designed to help you:</a:t>
            </a:r>
          </a:p>
          <a:p>
            <a:pPr marL="285750" indent="-285750">
              <a:spcBef>
                <a:spcPts val="0"/>
              </a:spcBef>
              <a:spcAft>
                <a:spcPts val="600"/>
              </a:spcAft>
              <a:buFont typeface="Arial" panose="020B0604020202020204" pitchFamily="34" charset="0"/>
              <a:buChar char="•"/>
            </a:pPr>
            <a:r>
              <a:rPr lang="en-US" sz="1800">
                <a:solidFill>
                  <a:schemeClr val="tx2">
                    <a:lumMod val="50000"/>
                  </a:schemeClr>
                </a:solidFill>
                <a:latin typeface="+mn-lt"/>
              </a:rPr>
              <a:t>Better plan your team structure.</a:t>
            </a:r>
          </a:p>
          <a:p>
            <a:pPr marL="285750" indent="-285750">
              <a:spcBef>
                <a:spcPts val="0"/>
              </a:spcBef>
              <a:spcAft>
                <a:spcPts val="600"/>
              </a:spcAft>
              <a:buFont typeface="Arial" panose="020B0604020202020204" pitchFamily="34" charset="0"/>
              <a:buChar char="•"/>
            </a:pPr>
            <a:r>
              <a:rPr lang="en-US" sz="1800">
                <a:solidFill>
                  <a:schemeClr val="tx2">
                    <a:lumMod val="50000"/>
                  </a:schemeClr>
                </a:solidFill>
                <a:latin typeface="+mn-lt"/>
              </a:rPr>
              <a:t>Review where you spend time and look for automation or innovation opportunities.</a:t>
            </a:r>
          </a:p>
        </p:txBody>
      </p:sp>
      <p:sp>
        <p:nvSpPr>
          <p:cNvPr id="5" name="TextBox 4">
            <a:extLst>
              <a:ext uri="{FF2B5EF4-FFF2-40B4-BE49-F238E27FC236}">
                <a16:creationId xmlns:a16="http://schemas.microsoft.com/office/drawing/2014/main" id="{E64E7664-4225-44D6-86E8-D30DCD30B9EE}"/>
              </a:ext>
            </a:extLst>
          </p:cNvPr>
          <p:cNvSpPr txBox="1"/>
          <p:nvPr/>
        </p:nvSpPr>
        <p:spPr>
          <a:xfrm>
            <a:off x="367568" y="949030"/>
            <a:ext cx="7169726" cy="400110"/>
          </a:xfrm>
          <a:prstGeom prst="rect">
            <a:avLst/>
          </a:prstGeom>
          <a:noFill/>
        </p:spPr>
        <p:txBody>
          <a:bodyPr wrap="square">
            <a:spAutoFit/>
          </a:bodyPr>
          <a:lstStyle/>
          <a:p>
            <a:r>
              <a:rPr lang="en-GB" sz="2000" err="1">
                <a:solidFill>
                  <a:schemeClr val="tx2">
                    <a:lumMod val="50000"/>
                  </a:schemeClr>
                </a:solidFill>
                <a:latin typeface="+mn-lt"/>
              </a:rPr>
              <a:t>CoE</a:t>
            </a:r>
            <a:r>
              <a:rPr lang="en-GB" sz="2000">
                <a:solidFill>
                  <a:schemeClr val="tx2">
                    <a:lumMod val="50000"/>
                  </a:schemeClr>
                </a:solidFill>
                <a:latin typeface="+mn-lt"/>
              </a:rPr>
              <a:t> Starter Kit Standalone Add-ons</a:t>
            </a:r>
            <a:endParaRPr lang="LID4096" sz="2000"/>
          </a:p>
        </p:txBody>
      </p:sp>
      <p:pic>
        <p:nvPicPr>
          <p:cNvPr id="13" name="Picture 12">
            <a:extLst>
              <a:ext uri="{FF2B5EF4-FFF2-40B4-BE49-F238E27FC236}">
                <a16:creationId xmlns:a16="http://schemas.microsoft.com/office/drawing/2014/main" id="{2EB45601-C030-8F28-6C90-9B4552B98B19}"/>
              </a:ext>
            </a:extLst>
          </p:cNvPr>
          <p:cNvPicPr>
            <a:picLocks noChangeAspect="1"/>
          </p:cNvPicPr>
          <p:nvPr/>
        </p:nvPicPr>
        <p:blipFill>
          <a:blip r:embed="rId3"/>
          <a:stretch>
            <a:fillRect/>
          </a:stretch>
        </p:blipFill>
        <p:spPr>
          <a:xfrm>
            <a:off x="6737760" y="1658542"/>
            <a:ext cx="5166018" cy="2711952"/>
          </a:xfrm>
          <a:prstGeom prst="rect">
            <a:avLst/>
          </a:prstGeom>
        </p:spPr>
      </p:pic>
      <p:pic>
        <p:nvPicPr>
          <p:cNvPr id="9" name="Picture 8">
            <a:extLst>
              <a:ext uri="{FF2B5EF4-FFF2-40B4-BE49-F238E27FC236}">
                <a16:creationId xmlns:a16="http://schemas.microsoft.com/office/drawing/2014/main" id="{12ADA7DF-C3A7-D6BF-E00C-6582FF0B4373}"/>
              </a:ext>
            </a:extLst>
          </p:cNvPr>
          <p:cNvPicPr>
            <a:picLocks noChangeAspect="1"/>
          </p:cNvPicPr>
          <p:nvPr/>
        </p:nvPicPr>
        <p:blipFill>
          <a:blip r:embed="rId4"/>
          <a:stretch>
            <a:fillRect/>
          </a:stretch>
        </p:blipFill>
        <p:spPr>
          <a:xfrm>
            <a:off x="7652445" y="3807044"/>
            <a:ext cx="4539553" cy="2784827"/>
          </a:xfrm>
          <a:prstGeom prst="rect">
            <a:avLst/>
          </a:prstGeom>
        </p:spPr>
      </p:pic>
      <p:sp>
        <p:nvSpPr>
          <p:cNvPr id="6" name="Footer Placeholder 4">
            <a:extLst>
              <a:ext uri="{FF2B5EF4-FFF2-40B4-BE49-F238E27FC236}">
                <a16:creationId xmlns:a16="http://schemas.microsoft.com/office/drawing/2014/main" id="{63C16CAE-8D84-70D0-D28D-C5BF5E76B075}"/>
              </a:ext>
            </a:extLst>
          </p:cNvPr>
          <p:cNvSpPr>
            <a:spLocks noGrp="1"/>
          </p:cNvSpPr>
          <p:nvPr>
            <p:ph type="ftr" sz="quarter" idx="3"/>
          </p:nvPr>
        </p:nvSpPr>
        <p:spPr>
          <a:xfrm>
            <a:off x="5137703" y="6544604"/>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7230572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DE4EC-AA67-4752-B822-4DC7FFAA5822}"/>
              </a:ext>
            </a:extLst>
          </p:cNvPr>
          <p:cNvSpPr>
            <a:spLocks noGrp="1"/>
          </p:cNvSpPr>
          <p:nvPr>
            <p:ph type="title"/>
          </p:nvPr>
        </p:nvSpPr>
        <p:spPr>
          <a:xfrm>
            <a:off x="455995" y="620428"/>
            <a:ext cx="11306469" cy="402674"/>
          </a:xfrm>
        </p:spPr>
        <p:txBody>
          <a:bodyPr/>
          <a:lstStyle/>
          <a:p>
            <a:r>
              <a:rPr lang="en-FI" sz="3200">
                <a:solidFill>
                  <a:srgbClr val="243A5E"/>
                </a:solidFill>
              </a:rPr>
              <a:t>Power Platform Hub</a:t>
            </a:r>
            <a:endParaRPr lang="en-GB" sz="3200">
              <a:solidFill>
                <a:srgbClr val="243A5E"/>
              </a:solidFill>
            </a:endParaRPr>
          </a:p>
        </p:txBody>
      </p:sp>
      <p:sp>
        <p:nvSpPr>
          <p:cNvPr id="3" name="Text Placeholder 2">
            <a:extLst>
              <a:ext uri="{FF2B5EF4-FFF2-40B4-BE49-F238E27FC236}">
                <a16:creationId xmlns:a16="http://schemas.microsoft.com/office/drawing/2014/main" id="{2D9B236A-4A45-4B1F-B7E4-65CC3F516789}"/>
              </a:ext>
            </a:extLst>
          </p:cNvPr>
          <p:cNvSpPr>
            <a:spLocks noGrp="1"/>
          </p:cNvSpPr>
          <p:nvPr>
            <p:ph type="body" sz="quarter" idx="10"/>
          </p:nvPr>
        </p:nvSpPr>
        <p:spPr>
          <a:xfrm>
            <a:off x="455993" y="1620984"/>
            <a:ext cx="6412639" cy="3976410"/>
          </a:xfrm>
        </p:spPr>
        <p:txBody>
          <a:bodyPr/>
          <a:lstStyle/>
          <a:p>
            <a:pPr>
              <a:spcBef>
                <a:spcPts val="0"/>
              </a:spcBef>
              <a:spcAft>
                <a:spcPts val="600"/>
              </a:spcAft>
            </a:pPr>
            <a:r>
              <a:rPr lang="en-FI" sz="1800">
                <a:solidFill>
                  <a:schemeClr val="tx2">
                    <a:lumMod val="50000"/>
                  </a:schemeClr>
                </a:solidFill>
              </a:rPr>
              <a:t>Your internal Power Platform community and wiki for</a:t>
            </a:r>
            <a:r>
              <a:rPr lang="en-US" sz="1800">
                <a:solidFill>
                  <a:schemeClr val="tx2">
                    <a:lumMod val="50000"/>
                  </a:schemeClr>
                </a:solidFill>
                <a:latin typeface="+mn-lt"/>
              </a:rPr>
              <a:t> shar</a:t>
            </a:r>
            <a:r>
              <a:rPr lang="en-FI" sz="1800" err="1">
                <a:solidFill>
                  <a:schemeClr val="tx2">
                    <a:lumMod val="50000"/>
                  </a:schemeClr>
                </a:solidFill>
                <a:latin typeface="+mn-lt"/>
              </a:rPr>
              <a:t>ing</a:t>
            </a:r>
            <a:r>
              <a:rPr lang="en-US" sz="1800">
                <a:solidFill>
                  <a:schemeClr val="tx2">
                    <a:lumMod val="50000"/>
                  </a:schemeClr>
                </a:solidFill>
                <a:latin typeface="+mn-lt"/>
              </a:rPr>
              <a:t> success stories, upcoming events, rules of engagement and guidelines </a:t>
            </a:r>
            <a:r>
              <a:rPr lang="en-FI" sz="1800">
                <a:solidFill>
                  <a:schemeClr val="tx2">
                    <a:lumMod val="50000"/>
                  </a:schemeClr>
                </a:solidFill>
                <a:latin typeface="+mn-lt"/>
              </a:rPr>
              <a:t>with your makers</a:t>
            </a:r>
            <a:r>
              <a:rPr lang="en-US" sz="1800">
                <a:solidFill>
                  <a:schemeClr val="tx2">
                    <a:lumMod val="50000"/>
                  </a:schemeClr>
                </a:solidFill>
                <a:latin typeface="+mn-lt"/>
              </a:rPr>
              <a:t>. This site should be a one-stop shop for makers to find out everything they need about getting started with Microsoft Power Platform.</a:t>
            </a:r>
            <a:endParaRPr lang="en-FI" sz="1800">
              <a:solidFill>
                <a:schemeClr val="tx2">
                  <a:lumMod val="50000"/>
                </a:schemeClr>
              </a:solidFill>
              <a:latin typeface="+mn-lt"/>
            </a:endParaRPr>
          </a:p>
          <a:p>
            <a:pPr>
              <a:spcBef>
                <a:spcPts val="0"/>
              </a:spcBef>
              <a:spcAft>
                <a:spcPts val="600"/>
              </a:spcAft>
            </a:pPr>
            <a:endParaRPr lang="en-FI" sz="1800">
              <a:solidFill>
                <a:schemeClr val="tx2">
                  <a:lumMod val="50000"/>
                </a:schemeClr>
              </a:solidFill>
            </a:endParaRPr>
          </a:p>
          <a:p>
            <a:pPr>
              <a:spcBef>
                <a:spcPts val="0"/>
              </a:spcBef>
              <a:spcAft>
                <a:spcPts val="600"/>
              </a:spcAft>
            </a:pPr>
            <a:r>
              <a:rPr lang="en-FI" sz="1800">
                <a:solidFill>
                  <a:schemeClr val="tx2">
                    <a:lumMod val="50000"/>
                  </a:schemeClr>
                </a:solidFill>
                <a:latin typeface="+mn-lt"/>
              </a:rPr>
              <a:t>Custom SharePoint communication site template which provides you easy way to </a:t>
            </a:r>
            <a:r>
              <a:rPr lang="en-FI" sz="1800">
                <a:solidFill>
                  <a:schemeClr val="tx2">
                    <a:lumMod val="50000"/>
                  </a:schemeClr>
                </a:solidFill>
              </a:rPr>
              <a:t>start building your own Power Platform community portal</a:t>
            </a:r>
            <a:endParaRPr lang="en-FI" sz="1800">
              <a:solidFill>
                <a:schemeClr val="tx2">
                  <a:lumMod val="50000"/>
                </a:schemeClr>
              </a:solidFill>
              <a:latin typeface="+mn-lt"/>
            </a:endParaRPr>
          </a:p>
          <a:p>
            <a:pPr>
              <a:spcBef>
                <a:spcPts val="0"/>
              </a:spcBef>
              <a:spcAft>
                <a:spcPts val="600"/>
              </a:spcAft>
            </a:pPr>
            <a:endParaRPr lang="en-FI" sz="1800">
              <a:solidFill>
                <a:schemeClr val="tx2">
                  <a:lumMod val="50000"/>
                </a:schemeClr>
              </a:solidFill>
            </a:endParaRPr>
          </a:p>
          <a:p>
            <a:pPr>
              <a:spcBef>
                <a:spcPts val="0"/>
              </a:spcBef>
              <a:spcAft>
                <a:spcPts val="600"/>
              </a:spcAft>
            </a:pPr>
            <a:endParaRPr lang="en-US" sz="1800">
              <a:solidFill>
                <a:schemeClr val="tx2">
                  <a:lumMod val="50000"/>
                </a:schemeClr>
              </a:solidFill>
              <a:latin typeface="+mn-lt"/>
            </a:endParaRPr>
          </a:p>
        </p:txBody>
      </p:sp>
      <p:sp>
        <p:nvSpPr>
          <p:cNvPr id="5" name="TextBox 4">
            <a:extLst>
              <a:ext uri="{FF2B5EF4-FFF2-40B4-BE49-F238E27FC236}">
                <a16:creationId xmlns:a16="http://schemas.microsoft.com/office/drawing/2014/main" id="{E64E7664-4225-44D6-86E8-D30DCD30B9EE}"/>
              </a:ext>
            </a:extLst>
          </p:cNvPr>
          <p:cNvSpPr txBox="1"/>
          <p:nvPr/>
        </p:nvSpPr>
        <p:spPr>
          <a:xfrm>
            <a:off x="367568" y="949030"/>
            <a:ext cx="7169726" cy="400110"/>
          </a:xfrm>
          <a:prstGeom prst="rect">
            <a:avLst/>
          </a:prstGeom>
          <a:noFill/>
        </p:spPr>
        <p:txBody>
          <a:bodyPr wrap="square">
            <a:spAutoFit/>
          </a:bodyPr>
          <a:lstStyle/>
          <a:p>
            <a:r>
              <a:rPr lang="en-GB" sz="2000" err="1">
                <a:solidFill>
                  <a:schemeClr val="tx2">
                    <a:lumMod val="50000"/>
                  </a:schemeClr>
                </a:solidFill>
                <a:latin typeface="+mn-lt"/>
              </a:rPr>
              <a:t>CoE</a:t>
            </a:r>
            <a:r>
              <a:rPr lang="en-GB" sz="2000">
                <a:solidFill>
                  <a:schemeClr val="tx2">
                    <a:lumMod val="50000"/>
                  </a:schemeClr>
                </a:solidFill>
                <a:latin typeface="+mn-lt"/>
              </a:rPr>
              <a:t> Starter Kit Standalone Add-ons</a:t>
            </a:r>
            <a:endParaRPr lang="LID4096" sz="2000"/>
          </a:p>
        </p:txBody>
      </p:sp>
      <p:sp>
        <p:nvSpPr>
          <p:cNvPr id="6" name="TextBox 5">
            <a:extLst>
              <a:ext uri="{FF2B5EF4-FFF2-40B4-BE49-F238E27FC236}">
                <a16:creationId xmlns:a16="http://schemas.microsoft.com/office/drawing/2014/main" id="{225A13B3-4659-4315-B081-1CD8100BE7DA}"/>
              </a:ext>
            </a:extLst>
          </p:cNvPr>
          <p:cNvSpPr txBox="1"/>
          <p:nvPr/>
        </p:nvSpPr>
        <p:spPr>
          <a:xfrm>
            <a:off x="367568" y="6332815"/>
            <a:ext cx="10102136" cy="369332"/>
          </a:xfrm>
          <a:prstGeom prst="rect">
            <a:avLst/>
          </a:prstGeom>
          <a:noFill/>
        </p:spPr>
        <p:txBody>
          <a:bodyPr wrap="square">
            <a:spAutoFit/>
          </a:bodyPr>
          <a:lstStyle/>
          <a:p>
            <a:r>
              <a:rPr lang="en-FI">
                <a:hlinkClick r:id="rId3"/>
              </a:rPr>
              <a:t>https://learn.microsoft.com/en-us/power-platform/guidance/adoption/wiki-community</a:t>
            </a:r>
            <a:r>
              <a:rPr lang="en-FI"/>
              <a:t> </a:t>
            </a:r>
          </a:p>
        </p:txBody>
      </p:sp>
      <p:pic>
        <p:nvPicPr>
          <p:cNvPr id="8" name="Picture 7">
            <a:extLst>
              <a:ext uri="{FF2B5EF4-FFF2-40B4-BE49-F238E27FC236}">
                <a16:creationId xmlns:a16="http://schemas.microsoft.com/office/drawing/2014/main" id="{ACA700A3-8F3C-A1FE-7D61-93F6BF4DE499}"/>
              </a:ext>
            </a:extLst>
          </p:cNvPr>
          <p:cNvPicPr>
            <a:picLocks noChangeAspect="1"/>
          </p:cNvPicPr>
          <p:nvPr/>
        </p:nvPicPr>
        <p:blipFill>
          <a:blip r:embed="rId4"/>
          <a:stretch>
            <a:fillRect/>
          </a:stretch>
        </p:blipFill>
        <p:spPr>
          <a:xfrm>
            <a:off x="7054586" y="1620984"/>
            <a:ext cx="5137414" cy="4553184"/>
          </a:xfrm>
          <a:prstGeom prst="rect">
            <a:avLst/>
          </a:prstGeom>
        </p:spPr>
      </p:pic>
    </p:spTree>
    <p:extLst>
      <p:ext uri="{BB962C8B-B14F-4D97-AF65-F5344CB8AC3E}">
        <p14:creationId xmlns:p14="http://schemas.microsoft.com/office/powerpoint/2010/main" val="360032815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Documentation</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10880724" cy="985345"/>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600"/>
              </a:spcAft>
              <a:buNone/>
            </a:pPr>
            <a:r>
              <a:rPr lang="en-US" sz="1800"/>
              <a:t>Center of Excellence Starter Kit documentation can be found from </a:t>
            </a:r>
          </a:p>
          <a:p>
            <a:pPr marL="0" indent="0">
              <a:spcBef>
                <a:spcPts val="600"/>
              </a:spcBef>
              <a:spcAft>
                <a:spcPts val="600"/>
              </a:spcAft>
              <a:buNone/>
            </a:pPr>
            <a:r>
              <a:rPr lang="en-US" sz="1800">
                <a:hlinkClick r:id="rId6"/>
              </a:rPr>
              <a:t>https://docs.microsoft.com/en-us/power-platform/guidance/coe/starter-kit</a:t>
            </a:r>
            <a:r>
              <a:rPr lang="en-US" sz="1800"/>
              <a:t> </a:t>
            </a:r>
          </a:p>
        </p:txBody>
      </p:sp>
      <p:pic>
        <p:nvPicPr>
          <p:cNvPr id="5" name="Picture 4">
            <a:extLst>
              <a:ext uri="{FF2B5EF4-FFF2-40B4-BE49-F238E27FC236}">
                <a16:creationId xmlns:a16="http://schemas.microsoft.com/office/drawing/2014/main" id="{E2D0756E-A979-4B42-9030-117BA1D099E9}"/>
              </a:ext>
            </a:extLst>
          </p:cNvPr>
          <p:cNvPicPr>
            <a:picLocks noChangeAspect="1"/>
          </p:cNvPicPr>
          <p:nvPr/>
        </p:nvPicPr>
        <p:blipFill>
          <a:blip r:embed="rId7"/>
          <a:stretch>
            <a:fillRect/>
          </a:stretch>
        </p:blipFill>
        <p:spPr>
          <a:xfrm>
            <a:off x="6585097" y="2393459"/>
            <a:ext cx="5440361" cy="3834305"/>
          </a:xfrm>
          <a:prstGeom prst="rect">
            <a:avLst/>
          </a:prstGeom>
          <a:ln>
            <a:noFill/>
          </a:ln>
          <a:effectLst>
            <a:outerShdw blurRad="292100" dist="139700" dir="2700000" algn="tl" rotWithShape="0">
              <a:srgbClr val="333333">
                <a:alpha val="65000"/>
              </a:srgbClr>
            </a:outerShdw>
          </a:effectLst>
        </p:spPr>
      </p:pic>
      <p:sp>
        <p:nvSpPr>
          <p:cNvPr id="9" name="Text Placeholder 1">
            <a:extLst>
              <a:ext uri="{FF2B5EF4-FFF2-40B4-BE49-F238E27FC236}">
                <a16:creationId xmlns:a16="http://schemas.microsoft.com/office/drawing/2014/main" id="{411B71EC-9580-40A5-B2C0-6762D15ACF07}"/>
              </a:ext>
            </a:extLst>
          </p:cNvPr>
          <p:cNvSpPr txBox="1">
            <a:spLocks/>
          </p:cNvSpPr>
          <p:nvPr>
            <p:custDataLst>
              <p:tags r:id="rId3"/>
            </p:custDataLst>
          </p:nvPr>
        </p:nvSpPr>
        <p:spPr>
          <a:xfrm>
            <a:off x="655637" y="2536937"/>
            <a:ext cx="5734530" cy="369082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a:spcBef>
                <a:spcPts val="1200"/>
              </a:spcBef>
              <a:spcAft>
                <a:spcPts val="1200"/>
              </a:spcAft>
            </a:pPr>
            <a:r>
              <a:rPr lang="en-US" sz="1800"/>
              <a:t>Requirements and limitations</a:t>
            </a:r>
          </a:p>
          <a:p>
            <a:pPr>
              <a:spcBef>
                <a:spcPts val="1200"/>
              </a:spcBef>
              <a:spcAft>
                <a:spcPts val="1200"/>
              </a:spcAft>
            </a:pPr>
            <a:r>
              <a:rPr lang="en-US" sz="1800"/>
              <a:t>Setup and how to use instructions</a:t>
            </a:r>
          </a:p>
          <a:p>
            <a:pPr>
              <a:spcBef>
                <a:spcPts val="1200"/>
              </a:spcBef>
              <a:spcAft>
                <a:spcPts val="1200"/>
              </a:spcAft>
            </a:pPr>
            <a:r>
              <a:rPr lang="en-US" sz="1800"/>
              <a:t>Guidelines how update and extend the toolkit</a:t>
            </a:r>
          </a:p>
          <a:p>
            <a:pPr>
              <a:spcBef>
                <a:spcPts val="1200"/>
              </a:spcBef>
              <a:spcAft>
                <a:spcPts val="1200"/>
              </a:spcAft>
            </a:pPr>
            <a:r>
              <a:rPr lang="en-US" sz="1800"/>
              <a:t>Detailed documentation of each component like individual Flows, Apps etc. of the </a:t>
            </a:r>
            <a:r>
              <a:rPr lang="en-US" sz="1800" err="1"/>
              <a:t>CoE</a:t>
            </a:r>
            <a:endParaRPr lang="en-US" sz="1800"/>
          </a:p>
          <a:p>
            <a:pPr marL="0" indent="0">
              <a:spcBef>
                <a:spcPts val="1200"/>
              </a:spcBef>
              <a:spcAft>
                <a:spcPts val="1200"/>
              </a:spcAft>
              <a:buFont typeface="Wingdings" panose="05000000000000000000" pitchFamily="2" charset="2"/>
              <a:buNone/>
            </a:pPr>
            <a:r>
              <a:rPr lang="en-US" sz="1800"/>
              <a:t> </a:t>
            </a:r>
          </a:p>
        </p:txBody>
      </p:sp>
      <p:sp>
        <p:nvSpPr>
          <p:cNvPr id="4" name="Footer Placeholder 4">
            <a:extLst>
              <a:ext uri="{FF2B5EF4-FFF2-40B4-BE49-F238E27FC236}">
                <a16:creationId xmlns:a16="http://schemas.microsoft.com/office/drawing/2014/main" id="{BFC74AC0-1B46-CBDF-5F41-1E2748D1231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4130837256"/>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noProof="1">
                <a:solidFill>
                  <a:srgbClr val="243A5E"/>
                </a:solidFill>
              </a:rPr>
              <a:t>GitHub Repo</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10880724" cy="985345"/>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600"/>
              </a:spcAft>
              <a:buNone/>
            </a:pPr>
            <a:r>
              <a:rPr lang="en-US" sz="1800"/>
              <a:t>Center of Excellence Starter Kit GitHub Repository can be found from </a:t>
            </a:r>
          </a:p>
          <a:p>
            <a:pPr marL="0" indent="0">
              <a:spcBef>
                <a:spcPts val="600"/>
              </a:spcBef>
              <a:spcAft>
                <a:spcPts val="600"/>
              </a:spcAft>
              <a:buNone/>
            </a:pPr>
            <a:r>
              <a:rPr lang="en-US" sz="1800">
                <a:hlinkClick r:id="rId6"/>
              </a:rPr>
              <a:t>https://github.com/microsoft/coe-starter-kit</a:t>
            </a:r>
            <a:r>
              <a:rPr lang="en-US" sz="1800"/>
              <a:t> </a:t>
            </a:r>
          </a:p>
        </p:txBody>
      </p:sp>
      <p:sp>
        <p:nvSpPr>
          <p:cNvPr id="9" name="Text Placeholder 1">
            <a:extLst>
              <a:ext uri="{FF2B5EF4-FFF2-40B4-BE49-F238E27FC236}">
                <a16:creationId xmlns:a16="http://schemas.microsoft.com/office/drawing/2014/main" id="{411B71EC-9580-40A5-B2C0-6762D15ACF07}"/>
              </a:ext>
            </a:extLst>
          </p:cNvPr>
          <p:cNvSpPr txBox="1">
            <a:spLocks/>
          </p:cNvSpPr>
          <p:nvPr>
            <p:custDataLst>
              <p:tags r:id="rId3"/>
            </p:custDataLst>
          </p:nvPr>
        </p:nvSpPr>
        <p:spPr>
          <a:xfrm>
            <a:off x="655637" y="2536937"/>
            <a:ext cx="5330493" cy="369082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a:spcBef>
                <a:spcPts val="1200"/>
              </a:spcBef>
              <a:spcAft>
                <a:spcPts val="1200"/>
              </a:spcAft>
            </a:pPr>
            <a:r>
              <a:rPr lang="en-US" sz="1800"/>
              <a:t>Download latest and previous version</a:t>
            </a:r>
            <a:r>
              <a:rPr lang="en-FI" sz="1800"/>
              <a:t>s</a:t>
            </a:r>
            <a:r>
              <a:rPr lang="en-US" sz="1800"/>
              <a:t> of </a:t>
            </a:r>
            <a:r>
              <a:rPr lang="en-US" sz="1800" err="1"/>
              <a:t>CoE</a:t>
            </a:r>
            <a:endParaRPr lang="en-US" sz="1800"/>
          </a:p>
          <a:p>
            <a:pPr>
              <a:spcBef>
                <a:spcPts val="1200"/>
              </a:spcBef>
              <a:spcAft>
                <a:spcPts val="1200"/>
              </a:spcAft>
            </a:pPr>
            <a:r>
              <a:rPr lang="en-US" sz="1800"/>
              <a:t>Report possible issues and get support (not officially supported by MS)</a:t>
            </a:r>
          </a:p>
          <a:p>
            <a:pPr>
              <a:spcBef>
                <a:spcPts val="1200"/>
              </a:spcBef>
              <a:spcAft>
                <a:spcPts val="1200"/>
              </a:spcAft>
            </a:pPr>
            <a:r>
              <a:rPr lang="en-US" sz="1800"/>
              <a:t>Request new features</a:t>
            </a:r>
          </a:p>
          <a:p>
            <a:pPr>
              <a:spcBef>
                <a:spcPts val="1200"/>
              </a:spcBef>
              <a:spcAft>
                <a:spcPts val="1200"/>
              </a:spcAft>
            </a:pPr>
            <a:r>
              <a:rPr lang="en-US" sz="1800"/>
              <a:t>Have a discussions and share ideas</a:t>
            </a:r>
          </a:p>
        </p:txBody>
      </p:sp>
      <p:pic>
        <p:nvPicPr>
          <p:cNvPr id="6" name="Picture 5">
            <a:extLst>
              <a:ext uri="{FF2B5EF4-FFF2-40B4-BE49-F238E27FC236}">
                <a16:creationId xmlns:a16="http://schemas.microsoft.com/office/drawing/2014/main" id="{EA2E8982-B4D9-4F54-A9D9-9CBF1E22871E}"/>
              </a:ext>
            </a:extLst>
          </p:cNvPr>
          <p:cNvPicPr>
            <a:picLocks noChangeAspect="1"/>
          </p:cNvPicPr>
          <p:nvPr/>
        </p:nvPicPr>
        <p:blipFill>
          <a:blip r:embed="rId7"/>
          <a:stretch>
            <a:fillRect/>
          </a:stretch>
        </p:blipFill>
        <p:spPr>
          <a:xfrm>
            <a:off x="6096000" y="2432701"/>
            <a:ext cx="4000055" cy="2214384"/>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3D7C83A2-E856-465B-88F9-8D9BBACB1BDD}"/>
              </a:ext>
            </a:extLst>
          </p:cNvPr>
          <p:cNvPicPr>
            <a:picLocks noChangeAspect="1"/>
          </p:cNvPicPr>
          <p:nvPr/>
        </p:nvPicPr>
        <p:blipFill>
          <a:blip r:embed="rId8"/>
          <a:stretch>
            <a:fillRect/>
          </a:stretch>
        </p:blipFill>
        <p:spPr>
          <a:xfrm>
            <a:off x="6836735" y="3410641"/>
            <a:ext cx="3690584" cy="1943418"/>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9F48A90B-7658-4E88-B248-0AF7557F9BA6}"/>
              </a:ext>
            </a:extLst>
          </p:cNvPr>
          <p:cNvPicPr>
            <a:picLocks noChangeAspect="1"/>
          </p:cNvPicPr>
          <p:nvPr/>
        </p:nvPicPr>
        <p:blipFill>
          <a:blip r:embed="rId9"/>
          <a:stretch>
            <a:fillRect/>
          </a:stretch>
        </p:blipFill>
        <p:spPr>
          <a:xfrm>
            <a:off x="7577491" y="4382350"/>
            <a:ext cx="4433792" cy="2016875"/>
          </a:xfrm>
          <a:prstGeom prst="rect">
            <a:avLst/>
          </a:prstGeom>
          <a:ln>
            <a:noFill/>
          </a:ln>
          <a:effectLst>
            <a:outerShdw blurRad="292100" dist="139700" dir="2700000" algn="tl" rotWithShape="0">
              <a:srgbClr val="333333">
                <a:alpha val="65000"/>
              </a:srgbClr>
            </a:outerShdw>
          </a:effectLst>
        </p:spPr>
      </p:pic>
      <p:sp>
        <p:nvSpPr>
          <p:cNvPr id="4" name="Footer Placeholder 4">
            <a:extLst>
              <a:ext uri="{FF2B5EF4-FFF2-40B4-BE49-F238E27FC236}">
                <a16:creationId xmlns:a16="http://schemas.microsoft.com/office/drawing/2014/main" id="{1A62C531-72F3-5641-FF50-B83A4A33A77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775881621"/>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noProof="1">
                <a:solidFill>
                  <a:srgbClr val="243A5E"/>
                </a:solidFill>
              </a:rPr>
              <a:t>Setup Prerequisites</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9" y="1052624"/>
            <a:ext cx="10880724" cy="4901609"/>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1200"/>
              </a:spcAft>
              <a:buNone/>
            </a:pPr>
            <a:r>
              <a:rPr lang="en-US" sz="2000" dirty="0">
                <a:cs typeface="Segoe UI"/>
              </a:rPr>
              <a:t>Environment with </a:t>
            </a:r>
            <a:r>
              <a:rPr lang="en-US" sz="2000">
                <a:cs typeface="Segoe UI"/>
              </a:rPr>
              <a:t>a Dataverse, </a:t>
            </a:r>
            <a:r>
              <a:rPr lang="en-US" sz="2000" dirty="0">
                <a:cs typeface="Segoe UI"/>
              </a:rPr>
              <a:t>where the user installing the solution has the System Administrator security role</a:t>
            </a:r>
          </a:p>
          <a:p>
            <a:pPr marL="0" indent="0">
              <a:spcBef>
                <a:spcPts val="600"/>
              </a:spcBef>
              <a:spcAft>
                <a:spcPts val="1200"/>
              </a:spcAft>
              <a:buNone/>
            </a:pPr>
            <a:r>
              <a:rPr lang="en-US" sz="2000" u="sng" dirty="0"/>
              <a:t>Admin Account</a:t>
            </a:r>
          </a:p>
          <a:p>
            <a:pPr marL="310515" indent="-310515">
              <a:spcBef>
                <a:spcPts val="0"/>
              </a:spcBef>
              <a:spcAft>
                <a:spcPts val="600"/>
              </a:spcAft>
            </a:pPr>
            <a:r>
              <a:rPr lang="en-US" sz="1800" dirty="0"/>
              <a:t>Power Platform, Global or D365 Admin for access to all tenant resources through the Power Apps APIs</a:t>
            </a:r>
          </a:p>
          <a:p>
            <a:pPr marL="310515" indent="-310515">
              <a:spcBef>
                <a:spcPts val="0"/>
              </a:spcBef>
              <a:spcAft>
                <a:spcPts val="600"/>
              </a:spcAft>
            </a:pPr>
            <a:r>
              <a:rPr lang="en-US" sz="1800" dirty="0"/>
              <a:t>This solution will work for environment admins, but the view will be restricted to only the environments an environment admin has access to</a:t>
            </a:r>
          </a:p>
          <a:p>
            <a:pPr marL="310515" indent="-310515">
              <a:spcBef>
                <a:spcPts val="0"/>
              </a:spcBef>
              <a:spcAft>
                <a:spcPts val="600"/>
              </a:spcAft>
            </a:pPr>
            <a:r>
              <a:rPr lang="en-US" sz="1800" dirty="0"/>
              <a:t>Must be email enabled</a:t>
            </a:r>
          </a:p>
          <a:p>
            <a:pPr marL="0" indent="0">
              <a:spcBef>
                <a:spcPts val="600"/>
              </a:spcBef>
              <a:spcAft>
                <a:spcPts val="1200"/>
              </a:spcAft>
              <a:buNone/>
            </a:pPr>
            <a:r>
              <a:rPr lang="en-US" sz="2000" dirty="0">
                <a:cs typeface="Segoe UI"/>
              </a:rPr>
              <a:t>Power Apps Premium license is required to be able to </a:t>
            </a:r>
            <a:r>
              <a:rPr lang="en-FI" sz="2000" dirty="0">
                <a:cs typeface="Segoe UI"/>
              </a:rPr>
              <a:t>use</a:t>
            </a:r>
            <a:r>
              <a:rPr lang="en-US" sz="2000" dirty="0">
                <a:cs typeface="Segoe UI"/>
              </a:rPr>
              <a:t> </a:t>
            </a:r>
            <a:r>
              <a:rPr lang="en-US" sz="2000" dirty="0" err="1">
                <a:cs typeface="Segoe UI"/>
              </a:rPr>
              <a:t>CoE</a:t>
            </a:r>
            <a:r>
              <a:rPr lang="en-US" sz="2000" dirty="0">
                <a:cs typeface="Segoe UI"/>
              </a:rPr>
              <a:t> Power Apps.</a:t>
            </a:r>
            <a:endParaRPr lang="en-US" sz="2000" dirty="0"/>
          </a:p>
          <a:p>
            <a:pPr marL="0" indent="0">
              <a:spcBef>
                <a:spcPts val="600"/>
              </a:spcBef>
              <a:spcAft>
                <a:spcPts val="1200"/>
              </a:spcAft>
              <a:buNone/>
            </a:pPr>
            <a:r>
              <a:rPr lang="en-US" sz="2000" dirty="0">
                <a:cs typeface="Segoe UI"/>
              </a:rPr>
              <a:t>Power Automate Premium license is required </a:t>
            </a:r>
            <a:r>
              <a:rPr lang="en-FI" sz="2000" dirty="0">
                <a:cs typeface="Segoe UI"/>
              </a:rPr>
              <a:t>for</a:t>
            </a:r>
            <a:r>
              <a:rPr lang="en-US" sz="2000" dirty="0">
                <a:cs typeface="Segoe UI"/>
              </a:rPr>
              <a:t> </a:t>
            </a:r>
            <a:r>
              <a:rPr lang="en-US" sz="2000" dirty="0" err="1">
                <a:cs typeface="Segoe UI"/>
              </a:rPr>
              <a:t>CoE</a:t>
            </a:r>
            <a:r>
              <a:rPr lang="en-US" sz="2000" dirty="0">
                <a:cs typeface="Segoe UI"/>
              </a:rPr>
              <a:t> Flows.</a:t>
            </a:r>
            <a:endParaRPr lang="en-US" sz="2000" dirty="0"/>
          </a:p>
          <a:p>
            <a:pPr marL="0" indent="0">
              <a:spcBef>
                <a:spcPts val="600"/>
              </a:spcBef>
              <a:spcAft>
                <a:spcPts val="1200"/>
              </a:spcAft>
              <a:buNone/>
            </a:pPr>
            <a:r>
              <a:rPr lang="en-US" sz="2000" dirty="0">
                <a:cs typeface="Segoe UI"/>
              </a:rPr>
              <a:t>If DLP policy affects the environment where </a:t>
            </a:r>
            <a:r>
              <a:rPr lang="en-US" sz="2000" dirty="0" err="1">
                <a:cs typeface="Segoe UI"/>
              </a:rPr>
              <a:t>CoE</a:t>
            </a:r>
            <a:r>
              <a:rPr lang="en-US" sz="2000" dirty="0">
                <a:cs typeface="Segoe UI"/>
              </a:rPr>
              <a:t> is installed, then policy should allow all the connectors used in </a:t>
            </a:r>
            <a:r>
              <a:rPr lang="en-US" sz="2000" dirty="0" err="1">
                <a:cs typeface="Segoe UI"/>
              </a:rPr>
              <a:t>CoE</a:t>
            </a:r>
            <a:r>
              <a:rPr lang="en-US" sz="2000" dirty="0">
                <a:cs typeface="Segoe UI"/>
              </a:rPr>
              <a:t> components to be used together (all those connectors either in Business or Non-Business bucket). See full list of connectors used in </a:t>
            </a:r>
            <a:r>
              <a:rPr lang="en-US" sz="2000" dirty="0" err="1">
                <a:cs typeface="Segoe UI"/>
              </a:rPr>
              <a:t>CoE</a:t>
            </a:r>
            <a:r>
              <a:rPr lang="en-US" sz="2000" dirty="0">
                <a:cs typeface="Segoe UI"/>
              </a:rPr>
              <a:t> from </a:t>
            </a:r>
            <a:r>
              <a:rPr lang="en-US" sz="2000" dirty="0">
                <a:cs typeface="Segoe UI"/>
                <a:hlinkClick r:id="rId5"/>
              </a:rPr>
              <a:t>Setup Prerequisites.</a:t>
            </a:r>
            <a:endParaRPr lang="en-US" sz="2000" dirty="0"/>
          </a:p>
        </p:txBody>
      </p:sp>
      <p:sp>
        <p:nvSpPr>
          <p:cNvPr id="5" name="TextBox 4">
            <a:extLst>
              <a:ext uri="{FF2B5EF4-FFF2-40B4-BE49-F238E27FC236}">
                <a16:creationId xmlns:a16="http://schemas.microsoft.com/office/drawing/2014/main" id="{6488C7F2-5B1C-2033-B79E-016B4FCA15BA}"/>
              </a:ext>
            </a:extLst>
          </p:cNvPr>
          <p:cNvSpPr txBox="1"/>
          <p:nvPr/>
        </p:nvSpPr>
        <p:spPr>
          <a:xfrm>
            <a:off x="568248" y="5954233"/>
            <a:ext cx="9849329" cy="369332"/>
          </a:xfrm>
          <a:prstGeom prst="rect">
            <a:avLst/>
          </a:prstGeom>
          <a:noFill/>
        </p:spPr>
        <p:txBody>
          <a:bodyPr wrap="square">
            <a:spAutoFit/>
          </a:bodyPr>
          <a:lstStyle/>
          <a:p>
            <a:r>
              <a:rPr lang="en-FI">
                <a:hlinkClick r:id="rId6"/>
              </a:rPr>
              <a:t>https://learn.microsoft.com/en-us/power-platform/guidance/coe/setup</a:t>
            </a:r>
            <a:r>
              <a:rPr lang="en-FI"/>
              <a:t> </a:t>
            </a:r>
          </a:p>
        </p:txBody>
      </p:sp>
      <p:sp>
        <p:nvSpPr>
          <p:cNvPr id="6" name="Footer Placeholder 4">
            <a:extLst>
              <a:ext uri="{FF2B5EF4-FFF2-40B4-BE49-F238E27FC236}">
                <a16:creationId xmlns:a16="http://schemas.microsoft.com/office/drawing/2014/main" id="{9197B8A1-3968-8D28-2EFA-793D268B463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58072674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anim calcmode="lin" valueType="num">
                                      <p:cBhvr additive="base">
                                        <p:cTn id="11"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
                                            <p:txEl>
                                              <p:pRg st="2" end="2"/>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anim calcmode="lin" valueType="num">
                                      <p:cBhvr additive="base">
                                        <p:cTn id="15"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
                                            <p:txEl>
                                              <p:pRg st="3" end="3"/>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 calcmode="lin" valueType="num">
                                      <p:cBhvr additive="base">
                                        <p:cTn id="3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noProof="1">
                <a:solidFill>
                  <a:srgbClr val="243A5E"/>
                </a:solidFill>
              </a:rPr>
              <a:t>Installing Updates</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121033"/>
            <a:ext cx="11305990" cy="4524853"/>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600"/>
              </a:spcBef>
              <a:spcAft>
                <a:spcPts val="1200"/>
              </a:spcAft>
            </a:pPr>
            <a:r>
              <a:rPr lang="en-US" sz="2000">
                <a:cs typeface="Segoe UI"/>
              </a:rPr>
              <a:t>Periodically, the solution will receive updates with new features, bug fixes, or optimizations. These updates will be announced on the GitHub repo and in release notes.</a:t>
            </a:r>
            <a:endParaRPr lang="en-US" sz="2000"/>
          </a:p>
          <a:p>
            <a:pPr marL="310515" indent="-310515">
              <a:spcBef>
                <a:spcPts val="600"/>
              </a:spcBef>
              <a:spcAft>
                <a:spcPts val="1200"/>
              </a:spcAft>
            </a:pPr>
            <a:r>
              <a:rPr lang="en-US" sz="2000"/>
              <a:t>Updates can be downloaded from </a:t>
            </a:r>
            <a:r>
              <a:rPr lang="en-US" sz="2000">
                <a:hlinkClick r:id="rId5"/>
              </a:rPr>
              <a:t>https://aka.ms/CoEStarterKitDownload</a:t>
            </a:r>
            <a:r>
              <a:rPr lang="en-US" sz="2000"/>
              <a:t>   </a:t>
            </a:r>
          </a:p>
          <a:p>
            <a:pPr marL="310515" indent="-310515">
              <a:spcBef>
                <a:spcPts val="600"/>
              </a:spcBef>
              <a:spcAft>
                <a:spcPts val="1200"/>
              </a:spcAft>
            </a:pPr>
            <a:r>
              <a:rPr lang="en-US" sz="2000"/>
              <a:t>We recommend upgrading the CoE Starter Kit solution </a:t>
            </a:r>
            <a:r>
              <a:rPr lang="en-US" sz="2000" u="sng"/>
              <a:t>at least every three months</a:t>
            </a:r>
            <a:r>
              <a:rPr lang="en-FI" sz="2000" u="sng"/>
              <a:t>.</a:t>
            </a:r>
          </a:p>
          <a:p>
            <a:pPr marL="310515" indent="-310515">
              <a:spcBef>
                <a:spcPts val="600"/>
              </a:spcBef>
              <a:spcAft>
                <a:spcPts val="1200"/>
              </a:spcAft>
            </a:pPr>
            <a:r>
              <a:rPr lang="en-US" sz="2000"/>
              <a:t>Install the updates by importing the latest version to the environment where you originally installed the solution and select Upgrade to update the solution.</a:t>
            </a:r>
          </a:p>
          <a:p>
            <a:pPr marL="310515" indent="-310515">
              <a:spcBef>
                <a:spcPts val="600"/>
              </a:spcBef>
              <a:spcAft>
                <a:spcPts val="1200"/>
              </a:spcAft>
            </a:pPr>
            <a:r>
              <a:rPr lang="en-US" sz="2000" b="1"/>
              <a:t>NOTE!</a:t>
            </a:r>
            <a:r>
              <a:rPr lang="en-US" sz="2000"/>
              <a:t> If you have made any changes to the Flows / Apps in the managed solution, they won't receive updates until you remove that unmanaged layer. For every Flow/App that you changed, go to the solution layers and remove it.</a:t>
            </a:r>
          </a:p>
        </p:txBody>
      </p:sp>
      <p:pic>
        <p:nvPicPr>
          <p:cNvPr id="5" name="Picture 4">
            <a:extLst>
              <a:ext uri="{FF2B5EF4-FFF2-40B4-BE49-F238E27FC236}">
                <a16:creationId xmlns:a16="http://schemas.microsoft.com/office/drawing/2014/main" id="{1C6C7617-7A2E-4597-833F-A291847D0F1E}"/>
              </a:ext>
            </a:extLst>
          </p:cNvPr>
          <p:cNvPicPr>
            <a:picLocks noChangeAspect="1"/>
          </p:cNvPicPr>
          <p:nvPr/>
        </p:nvPicPr>
        <p:blipFill>
          <a:blip r:embed="rId6"/>
          <a:stretch>
            <a:fillRect/>
          </a:stretch>
        </p:blipFill>
        <p:spPr>
          <a:xfrm>
            <a:off x="3532072" y="4841018"/>
            <a:ext cx="2911258" cy="1791898"/>
          </a:xfrm>
          <a:prstGeom prst="rect">
            <a:avLst/>
          </a:prstGeom>
        </p:spPr>
      </p:pic>
      <p:pic>
        <p:nvPicPr>
          <p:cNvPr id="7" name="Picture 6">
            <a:extLst>
              <a:ext uri="{FF2B5EF4-FFF2-40B4-BE49-F238E27FC236}">
                <a16:creationId xmlns:a16="http://schemas.microsoft.com/office/drawing/2014/main" id="{CF7E0EF3-153D-4192-AB5C-B27485CED226}"/>
              </a:ext>
            </a:extLst>
          </p:cNvPr>
          <p:cNvPicPr>
            <a:picLocks noChangeAspect="1"/>
          </p:cNvPicPr>
          <p:nvPr/>
        </p:nvPicPr>
        <p:blipFill>
          <a:blip r:embed="rId7"/>
          <a:stretch>
            <a:fillRect/>
          </a:stretch>
        </p:blipFill>
        <p:spPr>
          <a:xfrm>
            <a:off x="6510678" y="4946224"/>
            <a:ext cx="5518298" cy="1863492"/>
          </a:xfrm>
          <a:prstGeom prst="rect">
            <a:avLst/>
          </a:prstGeom>
        </p:spPr>
      </p:pic>
    </p:spTree>
    <p:custDataLst>
      <p:tags r:id="rId1"/>
    </p:custDataLst>
    <p:extLst>
      <p:ext uri="{BB962C8B-B14F-4D97-AF65-F5344CB8AC3E}">
        <p14:creationId xmlns:p14="http://schemas.microsoft.com/office/powerpoint/2010/main" val="1906481576"/>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sv-SE" noProof="1">
                <a:solidFill>
                  <a:srgbClr val="243A5E"/>
                </a:solidFill>
              </a:rPr>
              <a:t>Extending Starter Kit</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163563"/>
            <a:ext cx="10880724" cy="4524853"/>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600"/>
              </a:spcBef>
              <a:spcAft>
                <a:spcPts val="1200"/>
              </a:spcAft>
            </a:pPr>
            <a:r>
              <a:rPr lang="en-US" sz="2200">
                <a:cs typeface="Segoe UI"/>
              </a:rPr>
              <a:t>When you're ready to extend the </a:t>
            </a:r>
            <a:r>
              <a:rPr lang="en-US" sz="2200" err="1">
                <a:cs typeface="Segoe UI"/>
              </a:rPr>
              <a:t>CoE</a:t>
            </a:r>
            <a:r>
              <a:rPr lang="en-US" sz="2200">
                <a:cs typeface="Segoe UI"/>
              </a:rPr>
              <a:t> Starter Kit with your own ideas, you'll do so by making modifications to the solution components </a:t>
            </a:r>
            <a:r>
              <a:rPr lang="en-US" sz="2200" u="sng">
                <a:cs typeface="Segoe UI"/>
              </a:rPr>
              <a:t>in your own unmanaged solution.</a:t>
            </a:r>
            <a:endParaRPr lang="en-US" sz="2200"/>
          </a:p>
          <a:p>
            <a:pPr marL="310515" indent="-310515">
              <a:spcBef>
                <a:spcPts val="600"/>
              </a:spcBef>
              <a:spcAft>
                <a:spcPts val="1200"/>
              </a:spcAft>
            </a:pPr>
            <a:r>
              <a:rPr lang="en-US" sz="2200">
                <a:cs typeface="Segoe UI"/>
              </a:rPr>
              <a:t>Choose components from the CoE Starter Kit </a:t>
            </a:r>
            <a:r>
              <a:rPr lang="en-FI" sz="2200">
                <a:cs typeface="Segoe UI"/>
              </a:rPr>
              <a:t>you want to extend, add it to you unmanaged solution and then create copy of it. </a:t>
            </a:r>
            <a:r>
              <a:rPr lang="en-US" sz="2200">
                <a:cs typeface="Segoe UI"/>
              </a:rPr>
              <a:t>Remove the original </a:t>
            </a:r>
            <a:r>
              <a:rPr lang="en-FI" sz="2200">
                <a:cs typeface="Segoe UI"/>
              </a:rPr>
              <a:t>CoE version of the </a:t>
            </a:r>
            <a:r>
              <a:rPr lang="en-US" sz="2200">
                <a:cs typeface="Segoe UI"/>
              </a:rPr>
              <a:t>app</a:t>
            </a:r>
            <a:r>
              <a:rPr lang="en-FI" sz="2200">
                <a:cs typeface="Segoe UI"/>
              </a:rPr>
              <a:t>/flow</a:t>
            </a:r>
            <a:r>
              <a:rPr lang="en-US" sz="2200">
                <a:cs typeface="Segoe UI"/>
              </a:rPr>
              <a:t> from your solution</a:t>
            </a:r>
            <a:r>
              <a:rPr lang="en-FI" sz="2200">
                <a:cs typeface="Segoe UI"/>
              </a:rPr>
              <a:t>. </a:t>
            </a:r>
            <a:r>
              <a:rPr lang="en-FI" sz="2200" b="1">
                <a:cs typeface="Segoe UI"/>
              </a:rPr>
              <a:t>NOTE</a:t>
            </a:r>
            <a:r>
              <a:rPr lang="en-FI" sz="2200">
                <a:cs typeface="Segoe UI"/>
              </a:rPr>
              <a:t>, not all components can be copied like parent flows calling child flows (most CoE flows uses child flows). </a:t>
            </a:r>
          </a:p>
          <a:p>
            <a:pPr marL="310515" indent="-310515">
              <a:spcBef>
                <a:spcPts val="600"/>
              </a:spcBef>
              <a:spcAft>
                <a:spcPts val="1200"/>
              </a:spcAft>
            </a:pPr>
            <a:r>
              <a:rPr lang="en-US" sz="2200">
                <a:cs typeface="Segoe UI"/>
              </a:rPr>
              <a:t>Extend by making modifications to the </a:t>
            </a:r>
            <a:r>
              <a:rPr lang="en-FI" sz="2200">
                <a:cs typeface="Segoe UI"/>
              </a:rPr>
              <a:t>copied </a:t>
            </a:r>
            <a:r>
              <a:rPr lang="en-US" sz="2200">
                <a:cs typeface="Segoe UI"/>
              </a:rPr>
              <a:t>component in the context of your new unmanaged solution.</a:t>
            </a:r>
            <a:endParaRPr lang="en-US" sz="2200"/>
          </a:p>
          <a:p>
            <a:pPr marL="310515" indent="-310515">
              <a:spcBef>
                <a:spcPts val="600"/>
              </a:spcBef>
              <a:spcAft>
                <a:spcPts val="1200"/>
              </a:spcAft>
            </a:pPr>
            <a:r>
              <a:rPr lang="en-US" sz="2200">
                <a:cs typeface="Segoe UI"/>
              </a:rPr>
              <a:t>Deploy your solution to test and production. </a:t>
            </a:r>
          </a:p>
        </p:txBody>
      </p:sp>
      <p:sp>
        <p:nvSpPr>
          <p:cNvPr id="5" name="TextBox 4">
            <a:extLst>
              <a:ext uri="{FF2B5EF4-FFF2-40B4-BE49-F238E27FC236}">
                <a16:creationId xmlns:a16="http://schemas.microsoft.com/office/drawing/2014/main" id="{CB5DBEB3-A17C-9D10-9623-6B5202783C81}"/>
              </a:ext>
            </a:extLst>
          </p:cNvPr>
          <p:cNvSpPr txBox="1"/>
          <p:nvPr/>
        </p:nvSpPr>
        <p:spPr>
          <a:xfrm>
            <a:off x="597638" y="5688416"/>
            <a:ext cx="10996723" cy="523220"/>
          </a:xfrm>
          <a:prstGeom prst="rect">
            <a:avLst/>
          </a:prstGeom>
          <a:noFill/>
        </p:spPr>
        <p:txBody>
          <a:bodyPr wrap="square">
            <a:spAutoFit/>
          </a:bodyPr>
          <a:lstStyle/>
          <a:p>
            <a:r>
              <a:rPr lang="en-FI" sz="1400">
                <a:hlinkClick r:id="rId5"/>
              </a:rPr>
              <a:t>https://learn.microsoft.com/en-us/power-platform/guidance/coe/modify-components</a:t>
            </a:r>
            <a:endParaRPr lang="en-FI" sz="1400"/>
          </a:p>
          <a:p>
            <a:r>
              <a:rPr lang="en-US" sz="1400">
                <a:hlinkClick r:id="rId6"/>
              </a:rPr>
              <a:t>https://learn.microsoft.com/en-us/power-platform/guidance/coe/modify-components#working-with-cloud-flows</a:t>
            </a:r>
            <a:r>
              <a:rPr lang="en-FI" sz="1400"/>
              <a:t>  </a:t>
            </a:r>
          </a:p>
        </p:txBody>
      </p:sp>
      <p:sp>
        <p:nvSpPr>
          <p:cNvPr id="4" name="Footer Placeholder 4">
            <a:extLst>
              <a:ext uri="{FF2B5EF4-FFF2-40B4-BE49-F238E27FC236}">
                <a16:creationId xmlns:a16="http://schemas.microsoft.com/office/drawing/2014/main" id="{4E5858A1-18F7-D4CD-CFD7-4D93BDCD38A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70412720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sv-SE" noProof="1">
                <a:solidFill>
                  <a:srgbClr val="243A5E"/>
                </a:solidFill>
              </a:rPr>
              <a:t>Extending Starter Kit</a:t>
            </a:r>
            <a:r>
              <a:rPr lang="en-FI" noProof="1">
                <a:solidFill>
                  <a:srgbClr val="243A5E"/>
                </a:solidFill>
              </a:rPr>
              <a:t> - </a:t>
            </a:r>
            <a:r>
              <a:rPr lang="en-US" noProof="1">
                <a:solidFill>
                  <a:srgbClr val="243A5E"/>
                </a:solidFill>
              </a:rPr>
              <a:t>What components can I customize?</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10880724" cy="4524853"/>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600"/>
              </a:spcBef>
              <a:spcAft>
                <a:spcPts val="1200"/>
              </a:spcAft>
            </a:pPr>
            <a:r>
              <a:rPr lang="en-US" sz="2000">
                <a:cs typeface="Segoe UI"/>
              </a:rPr>
              <a:t>Tables and model-driven apps support merging. These resources can easily be extended by creating your own unmanaged solution and making changes there (for example, adding new fields). During an upgrade, you'll receive our changes and</a:t>
            </a:r>
            <a:r>
              <a:rPr lang="en-FI" sz="2000">
                <a:cs typeface="Segoe UI"/>
              </a:rPr>
              <a:t> also</a:t>
            </a:r>
            <a:r>
              <a:rPr lang="en-US" sz="2000">
                <a:cs typeface="Segoe UI"/>
              </a:rPr>
              <a:t> keep your changes.</a:t>
            </a:r>
          </a:p>
          <a:p>
            <a:pPr marL="310515" indent="-310515">
              <a:spcBef>
                <a:spcPts val="600"/>
              </a:spcBef>
              <a:spcAft>
                <a:spcPts val="1200"/>
              </a:spcAft>
            </a:pPr>
            <a:r>
              <a:rPr lang="en-US" sz="2000">
                <a:cs typeface="Segoe UI"/>
              </a:rPr>
              <a:t>Canvas apps and cloud flows </a:t>
            </a:r>
            <a:r>
              <a:rPr lang="en-US" sz="2000" u="sng">
                <a:cs typeface="Segoe UI"/>
              </a:rPr>
              <a:t>do not support merging</a:t>
            </a:r>
            <a:r>
              <a:rPr lang="en-US" sz="2000">
                <a:cs typeface="Segoe UI"/>
              </a:rPr>
              <a:t>. These resources can only be extended and customized by creating a copy in your own unmanaged solution. During an upgrade, you'll no longer receive our changes, which should be a deliberate choice in order to customize a process and make it fit to your organization.</a:t>
            </a:r>
          </a:p>
          <a:p>
            <a:pPr marL="310515" indent="-310515">
              <a:spcBef>
                <a:spcPts val="600"/>
              </a:spcBef>
              <a:spcAft>
                <a:spcPts val="1200"/>
              </a:spcAft>
            </a:pPr>
            <a:r>
              <a:rPr lang="en-US" sz="2000">
                <a:cs typeface="Segoe UI"/>
              </a:rPr>
              <a:t>Cloud flows that are responsible for gathering </a:t>
            </a:r>
            <a:r>
              <a:rPr lang="en-US" sz="2000" u="sng">
                <a:cs typeface="Segoe UI"/>
              </a:rPr>
              <a:t>inventory should not be customized</a:t>
            </a:r>
            <a:r>
              <a:rPr lang="en-US" sz="2000">
                <a:cs typeface="Segoe UI"/>
              </a:rPr>
              <a:t>. These flows are frequently updated to fix bugs, gather additional data, or improve performance. If you have additional requirements for what inventory to gather, raise a feature ask or create separate flows for your requirements.</a:t>
            </a:r>
            <a:endParaRPr lang="en-US"/>
          </a:p>
        </p:txBody>
      </p:sp>
      <p:sp>
        <p:nvSpPr>
          <p:cNvPr id="5" name="TextBox 4">
            <a:extLst>
              <a:ext uri="{FF2B5EF4-FFF2-40B4-BE49-F238E27FC236}">
                <a16:creationId xmlns:a16="http://schemas.microsoft.com/office/drawing/2014/main" id="{CB5DBEB3-A17C-9D10-9623-6B5202783C81}"/>
              </a:ext>
            </a:extLst>
          </p:cNvPr>
          <p:cNvSpPr txBox="1"/>
          <p:nvPr/>
        </p:nvSpPr>
        <p:spPr>
          <a:xfrm>
            <a:off x="597638" y="5932967"/>
            <a:ext cx="10996723" cy="369332"/>
          </a:xfrm>
          <a:prstGeom prst="rect">
            <a:avLst/>
          </a:prstGeom>
          <a:noFill/>
        </p:spPr>
        <p:txBody>
          <a:bodyPr wrap="square">
            <a:spAutoFit/>
          </a:bodyPr>
          <a:lstStyle/>
          <a:p>
            <a:r>
              <a:rPr lang="en-FI">
                <a:hlinkClick r:id="rId5"/>
              </a:rPr>
              <a:t>https://learn.microsoft.com/en-us/power-platform/guidance/coe/modify-components</a:t>
            </a:r>
            <a:r>
              <a:rPr lang="en-FI"/>
              <a:t> </a:t>
            </a:r>
          </a:p>
        </p:txBody>
      </p:sp>
      <p:sp>
        <p:nvSpPr>
          <p:cNvPr id="4" name="Footer Placeholder 4">
            <a:extLst>
              <a:ext uri="{FF2B5EF4-FFF2-40B4-BE49-F238E27FC236}">
                <a16:creationId xmlns:a16="http://schemas.microsoft.com/office/drawing/2014/main" id="{EB94D7C1-6A0F-B3DD-E442-A496518094F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167219428"/>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  </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a:t>After completing this Learning, you will be able to</a:t>
            </a:r>
            <a:r>
              <a:rPr lang="en-FI"/>
              <a:t> understand</a:t>
            </a:r>
            <a:r>
              <a:rPr lang="en-US"/>
              <a:t>:</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796053043"/>
              </p:ext>
            </p:extLst>
          </p:nvPr>
        </p:nvGraphicFramePr>
        <p:xfrm>
          <a:off x="571500" y="1752871"/>
          <a:ext cx="8188960" cy="2084832"/>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671457">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600" b="0">
                          <a:solidFill>
                            <a:schemeClr val="tx1"/>
                          </a:solidFill>
                          <a:cs typeface="Segoe UI Semibold"/>
                        </a:rPr>
                        <a:t>Fundamentals of Power Platform governance</a:t>
                      </a:r>
                      <a:endParaRPr lang="en-FI" sz="1600" b="0">
                        <a:solidFill>
                          <a:schemeClr val="tx1"/>
                        </a:solidFill>
                        <a:cs typeface="Segoe UI Semibold"/>
                      </a:endParaRP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671457">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mn-lt"/>
                          <a:ea typeface="+mn-ea"/>
                          <a:cs typeface="Segoe UI Semibold"/>
                        </a:rPr>
                        <a:t>What Center of Excellence (CoE) Starter Kit is and what </a:t>
                      </a:r>
                      <a:r>
                        <a:rPr kumimoji="0" lang="en-FI" sz="1600" b="0" i="0" u="none" strike="noStrike" kern="1200" cap="none" spc="0" normalizeH="0" baseline="0" noProof="0">
                          <a:ln>
                            <a:noFill/>
                          </a:ln>
                          <a:solidFill>
                            <a:srgbClr val="000000"/>
                          </a:solidFill>
                          <a:effectLst/>
                          <a:uLnTx/>
                          <a:uFillTx/>
                          <a:latin typeface="+mn-lt"/>
                          <a:ea typeface="+mn-ea"/>
                          <a:cs typeface="Segoe UI Semibold"/>
                        </a:rPr>
                        <a:t>it has to offer to better govern your Power Platform investment</a:t>
                      </a:r>
                      <a:endParaRPr kumimoji="0" lang="en-US" sz="1600" b="0" i="0" u="none" strike="noStrike" kern="1200" cap="none" spc="0" normalizeH="0" baseline="0" noProof="0">
                        <a:ln>
                          <a:noFill/>
                        </a:ln>
                        <a:solidFill>
                          <a:srgbClr val="000000"/>
                        </a:solidFill>
                        <a:effectLst/>
                        <a:uLnTx/>
                        <a:uFillTx/>
                        <a:latin typeface="+mn-lt"/>
                        <a:ea typeface="+mn-ea"/>
                        <a:cs typeface="Segoe UI Semibold"/>
                      </a:endParaRP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671457">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42900" indent="-228600" defTabSz="914192">
                        <a:spcBef>
                          <a:spcPts val="100"/>
                        </a:spcBef>
                        <a:spcAft>
                          <a:spcPts val="200"/>
                        </a:spcAft>
                        <a:buFont typeface="Wingdings" panose="05000000000000000000" pitchFamily="2" charset="2"/>
                        <a:buChar char="ü"/>
                      </a:pPr>
                      <a:r>
                        <a:rPr lang="en-US" sz="1600" b="0" dirty="0">
                          <a:solidFill>
                            <a:schemeClr val="tx1"/>
                          </a:solidFill>
                          <a:cs typeface="Segoe UI Semibold"/>
                        </a:rPr>
                        <a:t>Details of </a:t>
                      </a:r>
                      <a:r>
                        <a:rPr lang="en-US" sz="1600" b="0" dirty="0" err="1">
                          <a:solidFill>
                            <a:schemeClr val="tx1"/>
                          </a:solidFill>
                          <a:cs typeface="Segoe UI Semibold"/>
                        </a:rPr>
                        <a:t>CoE</a:t>
                      </a:r>
                      <a:r>
                        <a:rPr lang="en-US" sz="1600" b="0" dirty="0">
                          <a:solidFill>
                            <a:schemeClr val="tx1"/>
                          </a:solidFill>
                          <a:cs typeface="Segoe UI Semibold"/>
                        </a:rPr>
                        <a:t> Core, Audit Log components and Power BI Dashboard</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214051"/>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057878" y="2442167"/>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238B2AE-E431-4EA1-8BC4-5D6AC984F8EB}"/>
              </a:ext>
              <a:ext uri="{C183D7F6-B498-43B3-948B-1728B52AA6E4}">
                <adec:decorative xmlns:adec="http://schemas.microsoft.com/office/drawing/2017/decorative" val="1"/>
              </a:ext>
            </a:extLst>
          </p:cNvPr>
          <p:cNvCxnSpPr>
            <a:cxnSpLocks/>
          </p:cNvCxnSpPr>
          <p:nvPr/>
        </p:nvCxnSpPr>
        <p:spPr>
          <a:xfrm>
            <a:off x="8057878" y="3143570"/>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ECE0622-5E4F-47AD-AF38-87A50324A092}"/>
              </a:ext>
              <a:ext uri="{C183D7F6-B498-43B3-948B-1728B52AA6E4}">
                <adec:decorative xmlns:adec="http://schemas.microsoft.com/office/drawing/2017/decorative" val="1"/>
              </a:ext>
            </a:extLst>
          </p:cNvPr>
          <p:cNvCxnSpPr>
            <a:cxnSpLocks/>
          </p:cNvCxnSpPr>
          <p:nvPr/>
        </p:nvCxnSpPr>
        <p:spPr>
          <a:xfrm>
            <a:off x="8057878" y="383770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3" name="Footer Placeholder 2">
            <a:extLst>
              <a:ext uri="{FF2B5EF4-FFF2-40B4-BE49-F238E27FC236}">
                <a16:creationId xmlns:a16="http://schemas.microsoft.com/office/drawing/2014/main" id="{ECD277A2-DA01-4024-A1E9-96359B541ED7}"/>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noProof="1">
                <a:solidFill>
                  <a:srgbClr val="243A5E"/>
                </a:solidFill>
              </a:rPr>
              <a:t>Limitations</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163563"/>
            <a:ext cx="10880724" cy="5067797"/>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600"/>
              </a:spcAft>
              <a:buNone/>
            </a:pPr>
            <a:r>
              <a:rPr lang="en-FI" sz="2200"/>
              <a:t>CoE Starter Kit has some limitations you need to be aware of few most important listed here. See full list from the documentation</a:t>
            </a:r>
          </a:p>
          <a:p>
            <a:pPr marL="0" indent="0">
              <a:spcBef>
                <a:spcPts val="600"/>
              </a:spcBef>
              <a:spcAft>
                <a:spcPts val="600"/>
              </a:spcAft>
              <a:buNone/>
            </a:pPr>
            <a:r>
              <a:rPr lang="en-US" sz="1700" b="1"/>
              <a:t>Security groups and approvals </a:t>
            </a:r>
            <a:r>
              <a:rPr lang="en-US" sz="1700"/>
              <a:t>- We recommend </a:t>
            </a:r>
            <a:r>
              <a:rPr lang="en-US" sz="1700" u="sng"/>
              <a:t>against</a:t>
            </a:r>
            <a:r>
              <a:rPr lang="en-US" sz="1700"/>
              <a:t> using security groups to control access to the </a:t>
            </a:r>
            <a:r>
              <a:rPr lang="en-US" sz="1700" err="1"/>
              <a:t>CoE</a:t>
            </a:r>
            <a:r>
              <a:rPr lang="en-US" sz="1700"/>
              <a:t> environment, because it's likely that users who don't have access to this environment will be participating in approvals</a:t>
            </a:r>
          </a:p>
          <a:p>
            <a:pPr marL="0" indent="0">
              <a:spcBef>
                <a:spcPts val="600"/>
              </a:spcBef>
              <a:spcAft>
                <a:spcPts val="600"/>
              </a:spcAft>
              <a:buNone/>
            </a:pPr>
            <a:r>
              <a:rPr lang="en-US" sz="1700" b="1"/>
              <a:t>Long running flows </a:t>
            </a:r>
            <a:r>
              <a:rPr lang="en-US" sz="1700"/>
              <a:t>– </a:t>
            </a:r>
            <a:r>
              <a:rPr lang="en-FI" sz="1700"/>
              <a:t>Inventory flow (Admin | Sync Template v3*) can be very resource expensive consuming lots of Power Platform requests. </a:t>
            </a:r>
            <a:r>
              <a:rPr lang="en-US" sz="1700"/>
              <a:t>Larger tenants might require a Power Automate Per Flow license to complete in a timely manner.</a:t>
            </a:r>
          </a:p>
          <a:p>
            <a:pPr marL="0" indent="0">
              <a:spcBef>
                <a:spcPts val="600"/>
              </a:spcBef>
              <a:spcAft>
                <a:spcPts val="600"/>
              </a:spcAft>
              <a:buNone/>
            </a:pPr>
            <a:r>
              <a:rPr lang="en-US" sz="1700" b="1"/>
              <a:t>Trial Licenses </a:t>
            </a:r>
            <a:r>
              <a:rPr lang="en-US" sz="1700"/>
              <a:t>– I</a:t>
            </a:r>
            <a:r>
              <a:rPr lang="en-FI" sz="1700" err="1"/>
              <a:t>ndividual</a:t>
            </a:r>
            <a:r>
              <a:rPr lang="en-FI" sz="1700"/>
              <a:t> trial licenses (started by user) are not supported as they do n</a:t>
            </a:r>
            <a:r>
              <a:rPr lang="en-US" sz="1700" err="1"/>
              <a:t>ot</a:t>
            </a:r>
            <a:r>
              <a:rPr lang="en-FI" sz="1700"/>
              <a:t> provide necessary performance related paging features required by CoE flows</a:t>
            </a:r>
          </a:p>
          <a:p>
            <a:pPr marL="0" indent="0">
              <a:spcBef>
                <a:spcPts val="600"/>
              </a:spcBef>
              <a:spcAft>
                <a:spcPts val="600"/>
              </a:spcAft>
              <a:buNone/>
            </a:pPr>
            <a:r>
              <a:rPr lang="en-US" sz="1700" b="1"/>
              <a:t>Flows that are imported or owned by a service principal</a:t>
            </a:r>
            <a:r>
              <a:rPr lang="en-FI" sz="1700" b="1"/>
              <a:t> - </a:t>
            </a:r>
            <a:r>
              <a:rPr lang="en-US" sz="1700"/>
              <a:t>The Admin | Sync Template v3 (Flows) flow will fail to collect inventory information for flows that were imported or are owned by a service principal.</a:t>
            </a:r>
            <a:endParaRPr lang="en-FI" sz="1700"/>
          </a:p>
          <a:p>
            <a:pPr marL="0" indent="0">
              <a:spcBef>
                <a:spcPts val="600"/>
              </a:spcBef>
              <a:spcAft>
                <a:spcPts val="600"/>
              </a:spcAft>
              <a:buNone/>
            </a:pPr>
            <a:r>
              <a:rPr lang="en-US" sz="1700" b="1"/>
              <a:t>Supported languages</a:t>
            </a:r>
            <a:r>
              <a:rPr lang="en-FI" sz="1700" b="1"/>
              <a:t> </a:t>
            </a:r>
            <a:r>
              <a:rPr lang="en-FI" sz="1700"/>
              <a:t>– </a:t>
            </a:r>
            <a:r>
              <a:rPr lang="en-US" sz="1700"/>
              <a:t>CoE Starter Kit solutions are not localized, and only support English</a:t>
            </a:r>
            <a:endParaRPr lang="en-US" sz="1700" b="1"/>
          </a:p>
        </p:txBody>
      </p:sp>
      <p:sp>
        <p:nvSpPr>
          <p:cNvPr id="5" name="TextBox 4">
            <a:extLst>
              <a:ext uri="{FF2B5EF4-FFF2-40B4-BE49-F238E27FC236}">
                <a16:creationId xmlns:a16="http://schemas.microsoft.com/office/drawing/2014/main" id="{51DF5602-71B9-463E-8B6F-D883F7D34BCA}"/>
              </a:ext>
            </a:extLst>
          </p:cNvPr>
          <p:cNvSpPr txBox="1"/>
          <p:nvPr/>
        </p:nvSpPr>
        <p:spPr>
          <a:xfrm>
            <a:off x="581827" y="6046694"/>
            <a:ext cx="8102979" cy="369332"/>
          </a:xfrm>
          <a:prstGeom prst="rect">
            <a:avLst/>
          </a:prstGeom>
          <a:noFill/>
        </p:spPr>
        <p:txBody>
          <a:bodyPr wrap="square">
            <a:spAutoFit/>
          </a:bodyPr>
          <a:lstStyle/>
          <a:p>
            <a:r>
              <a:rPr lang="fi-FI">
                <a:hlinkClick r:id="rId5"/>
              </a:rPr>
              <a:t>https://docs.microsoft.com/en-us/power-platform/guidance/coe/limitations</a:t>
            </a:r>
            <a:r>
              <a:rPr lang="fi-FI"/>
              <a:t> </a:t>
            </a:r>
            <a:endParaRPr lang="LID4096"/>
          </a:p>
        </p:txBody>
      </p:sp>
      <p:sp>
        <p:nvSpPr>
          <p:cNvPr id="4" name="Footer Placeholder 4">
            <a:extLst>
              <a:ext uri="{FF2B5EF4-FFF2-40B4-BE49-F238E27FC236}">
                <a16:creationId xmlns:a16="http://schemas.microsoft.com/office/drawing/2014/main" id="{0AB0C027-2363-D701-F326-4206A517BF18}"/>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75878536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0" end="0"/>
                                            </p:txEl>
                                          </p:spTgt>
                                        </p:tgtEl>
                                        <p:attrNameLst>
                                          <p:attrName>style.visibility</p:attrName>
                                        </p:attrNameLst>
                                      </p:cBhvr>
                                      <p:to>
                                        <p:strVal val="visible"/>
                                      </p:to>
                                    </p:set>
                                    <p:anim calcmode="lin" valueType="num">
                                      <p:cBhvr additive="base">
                                        <p:cTn id="13"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 calcmode="lin" valueType="num">
                                      <p:cBhvr additive="base">
                                        <p:cTn id="31"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5" end="5"/>
                                            </p:txEl>
                                          </p:spTgt>
                                        </p:tgtEl>
                                        <p:attrNameLst>
                                          <p:attrName>style.visibility</p:attrName>
                                        </p:attrNameLst>
                                      </p:cBhvr>
                                      <p:to>
                                        <p:strVal val="visible"/>
                                      </p:to>
                                    </p:set>
                                    <p:anim calcmode="lin" valueType="num">
                                      <p:cBhvr additive="base">
                                        <p:cTn id="37"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199" y="4580859"/>
            <a:ext cx="10824029" cy="769441"/>
          </a:xfrm>
        </p:spPr>
        <p:txBody>
          <a:bodyPr/>
          <a:lstStyle/>
          <a:p>
            <a:pPr>
              <a:lnSpc>
                <a:spcPts val="6000"/>
              </a:lnSpc>
              <a:spcBef>
                <a:spcPts val="0"/>
              </a:spcBef>
            </a:pPr>
            <a:r>
              <a:rPr lang="en-US" sz="5400"/>
              <a:t>Core Solution Deep Dive</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217924211"/>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FI" noProof="1">
                <a:solidFill>
                  <a:srgbClr val="243A5E"/>
                </a:solidFill>
              </a:rPr>
              <a:t>Inventory – Sync Templates</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6138568"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0"/>
              </a:spcBef>
              <a:spcAft>
                <a:spcPts val="600"/>
              </a:spcAft>
              <a:buNone/>
            </a:pPr>
            <a:r>
              <a:rPr lang="en-FI" sz="2000" dirty="0"/>
              <a:t>Inventory</a:t>
            </a:r>
            <a:r>
              <a:rPr lang="en-US" sz="2000" dirty="0"/>
              <a:t> flows </a:t>
            </a:r>
            <a:r>
              <a:rPr lang="en-FI" sz="2000" dirty="0"/>
              <a:t>gets</a:t>
            </a:r>
            <a:r>
              <a:rPr lang="en-US" sz="2000" dirty="0"/>
              <a:t> resource-specific information</a:t>
            </a:r>
            <a:r>
              <a:rPr lang="en-FI" sz="2000" dirty="0"/>
              <a:t> about</a:t>
            </a:r>
            <a:r>
              <a:rPr lang="en-US" sz="2000" dirty="0"/>
              <a:t> your tenant resources</a:t>
            </a:r>
            <a:r>
              <a:rPr lang="en-FI" sz="2000" dirty="0"/>
              <a:t> like environments, apps, flows, virtual agents. This data is stored in corresponding Dataverse tables</a:t>
            </a:r>
          </a:p>
          <a:p>
            <a:pPr marL="0" indent="0">
              <a:spcBef>
                <a:spcPts val="0"/>
              </a:spcBef>
              <a:spcAft>
                <a:spcPts val="600"/>
              </a:spcAft>
              <a:buNone/>
            </a:pPr>
            <a:endParaRPr lang="en-FI" sz="2000" dirty="0"/>
          </a:p>
          <a:p>
            <a:pPr marL="0" indent="0">
              <a:spcBef>
                <a:spcPts val="0"/>
              </a:spcBef>
              <a:spcAft>
                <a:spcPts val="600"/>
              </a:spcAft>
              <a:buNone/>
            </a:pPr>
            <a:r>
              <a:rPr lang="en-FI" sz="2000" dirty="0"/>
              <a:t>Most of these flows are triggered when the </a:t>
            </a:r>
            <a:r>
              <a:rPr lang="en-FI" sz="2000" b="1" dirty="0"/>
              <a:t>Admin | Sync Template v3 (Driver)</a:t>
            </a:r>
            <a:r>
              <a:rPr lang="en-FI" sz="2000" dirty="0"/>
              <a:t> flow runs and stores information about Power Platform environments</a:t>
            </a:r>
          </a:p>
          <a:p>
            <a:pPr marL="0" indent="0">
              <a:spcBef>
                <a:spcPts val="0"/>
              </a:spcBef>
              <a:spcAft>
                <a:spcPts val="600"/>
              </a:spcAft>
              <a:buNone/>
            </a:pPr>
            <a:endParaRPr lang="en-FI" sz="2000" dirty="0"/>
          </a:p>
          <a:p>
            <a:pPr marL="0" indent="0">
              <a:spcBef>
                <a:spcPts val="0"/>
              </a:spcBef>
              <a:spcAft>
                <a:spcPts val="600"/>
              </a:spcAft>
              <a:buNone/>
            </a:pPr>
            <a:r>
              <a:rPr lang="en-US" sz="2000" dirty="0"/>
              <a:t>The first run of these flows will perform a full inventory of every Power Platform resource in your tenant and depending on the size of your tenant, these flows may take a long time to run</a:t>
            </a:r>
            <a:endParaRPr lang="en-FI" sz="2000" dirty="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81206"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FI" sz="1600">
                <a:solidFill>
                  <a:schemeClr val="tx2">
                    <a:lumMod val="50000"/>
                  </a:schemeClr>
                </a:solidFill>
                <a:latin typeface="+mn-lt"/>
              </a:rPr>
              <a:t>Cloud </a:t>
            </a:r>
            <a:r>
              <a:rPr lang="en-GB" sz="1600">
                <a:solidFill>
                  <a:schemeClr val="tx2">
                    <a:lumMod val="50000"/>
                  </a:schemeClr>
                </a:solidFill>
                <a:latin typeface="+mn-lt"/>
              </a:rPr>
              <a:t>Flows</a:t>
            </a:r>
            <a:endParaRPr lang="LID4096" sz="1800"/>
          </a:p>
        </p:txBody>
      </p:sp>
      <p:pic>
        <p:nvPicPr>
          <p:cNvPr id="13" name="Picture 12">
            <a:extLst>
              <a:ext uri="{FF2B5EF4-FFF2-40B4-BE49-F238E27FC236}">
                <a16:creationId xmlns:a16="http://schemas.microsoft.com/office/drawing/2014/main" id="{193AF3E2-23DE-5AFD-7E13-55410FE27415}"/>
              </a:ext>
            </a:extLst>
          </p:cNvPr>
          <p:cNvPicPr>
            <a:picLocks noChangeAspect="1"/>
          </p:cNvPicPr>
          <p:nvPr/>
        </p:nvPicPr>
        <p:blipFill>
          <a:blip r:embed="rId5"/>
          <a:stretch>
            <a:fillRect/>
          </a:stretch>
        </p:blipFill>
        <p:spPr>
          <a:xfrm>
            <a:off x="6934455" y="1408115"/>
            <a:ext cx="5140587" cy="4663502"/>
          </a:xfrm>
          <a:prstGeom prst="rect">
            <a:avLst/>
          </a:prstGeom>
        </p:spPr>
      </p:pic>
      <p:sp>
        <p:nvSpPr>
          <p:cNvPr id="5" name="Footer Placeholder 4">
            <a:extLst>
              <a:ext uri="{FF2B5EF4-FFF2-40B4-BE49-F238E27FC236}">
                <a16:creationId xmlns:a16="http://schemas.microsoft.com/office/drawing/2014/main" id="{0809E660-05B4-981B-C83E-B4508477574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047581608"/>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FI" dirty="0" err="1">
                <a:solidFill>
                  <a:srgbClr val="243A5E"/>
                </a:solidFill>
              </a:rPr>
              <a:t>CoE</a:t>
            </a:r>
            <a:r>
              <a:rPr lang="en-FI" dirty="0">
                <a:solidFill>
                  <a:srgbClr val="243A5E"/>
                </a:solidFill>
              </a:rPr>
              <a:t> Kit BYODL - </a:t>
            </a:r>
            <a:r>
              <a:rPr lang="en-US" dirty="0">
                <a:solidFill>
                  <a:srgbClr val="243A5E"/>
                </a:solidFill>
              </a:rPr>
              <a:t>Self-serve analytics architecture</a:t>
            </a:r>
            <a:r>
              <a:rPr lang="en-FI" dirty="0">
                <a:solidFill>
                  <a:srgbClr val="243A5E"/>
                </a:solidFill>
              </a:rPr>
              <a:t> (Preview)</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10734412" cy="4992686"/>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FI" err="1">
                <a:cs typeface="Segoe UI"/>
              </a:rPr>
              <a:t>CoE</a:t>
            </a:r>
            <a:r>
              <a:rPr lang="en-FI">
                <a:cs typeface="Segoe UI"/>
              </a:rPr>
              <a:t> Kit Bring Your Own Data Lake (BYODL) option offers another way to gather information about Power Platform resources </a:t>
            </a:r>
          </a:p>
          <a:p>
            <a:r>
              <a:rPr lang="en-FI">
                <a:cs typeface="Segoe UI"/>
              </a:rPr>
              <a:t>Currently supports Power Apps, Cloud Flows, Environments, Connections and usage data for Apps and Flows  data for the </a:t>
            </a:r>
            <a:r>
              <a:rPr lang="en-FI" err="1">
                <a:cs typeface="Segoe UI"/>
              </a:rPr>
              <a:t>CoE</a:t>
            </a:r>
            <a:r>
              <a:rPr lang="en-FI">
                <a:cs typeface="Segoe UI"/>
              </a:rPr>
              <a:t> Kit utilizing inventory and telemetry data </a:t>
            </a:r>
          </a:p>
          <a:p>
            <a:r>
              <a:rPr lang="en-FI">
                <a:cs typeface="Segoe UI"/>
              </a:rPr>
              <a:t>This offers much faster way to get inventory data compared to traditional cloud flows option which has had issues especially in large tenant with lots of Power Platform resources</a:t>
            </a:r>
          </a:p>
          <a:p>
            <a:r>
              <a:rPr lang="en-FI">
                <a:cs typeface="Segoe UI"/>
              </a:rPr>
              <a:t>This requires Tenant-Level Analytics enabled in the tenant and Data Export (preview) configured to export inventory data from the platform to Azure Data Lake storage account</a:t>
            </a:r>
          </a:p>
          <a:p>
            <a:r>
              <a:rPr lang="en-FI">
                <a:cs typeface="Segoe UI"/>
              </a:rPr>
              <a:t>Power BI and P</a:t>
            </a:r>
            <a:r>
              <a:rPr lang="en-GB">
                <a:cs typeface="Segoe UI"/>
              </a:rPr>
              <a:t>o</a:t>
            </a:r>
            <a:r>
              <a:rPr lang="en-FI" err="1">
                <a:cs typeface="Segoe UI"/>
              </a:rPr>
              <a:t>wer</a:t>
            </a:r>
            <a:r>
              <a:rPr lang="en-FI">
                <a:cs typeface="Segoe UI"/>
              </a:rPr>
              <a:t> Platform Dataflows are used to fetch and </a:t>
            </a:r>
            <a:r>
              <a:rPr lang="en-FI" err="1">
                <a:cs typeface="Segoe UI"/>
              </a:rPr>
              <a:t>tran</a:t>
            </a:r>
            <a:r>
              <a:rPr lang="en-GB">
                <a:cs typeface="Segoe UI"/>
              </a:rPr>
              <a:t>s</a:t>
            </a:r>
            <a:r>
              <a:rPr lang="en-FI">
                <a:cs typeface="Segoe UI"/>
              </a:rPr>
              <a:t>form data</a:t>
            </a:r>
            <a:endParaRPr lang="en-US"/>
          </a:p>
          <a:p>
            <a:pPr marL="310515" indent="-310515"/>
            <a:endParaRPr lang="en-US"/>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err="1">
                <a:solidFill>
                  <a:schemeClr val="tx2">
                    <a:lumMod val="50000"/>
                  </a:schemeClr>
                </a:solidFill>
                <a:latin typeface="+mn-lt"/>
              </a:rPr>
              <a:t>CoE</a:t>
            </a:r>
            <a:r>
              <a:rPr lang="en-GB" sz="2000">
                <a:solidFill>
                  <a:schemeClr val="tx2">
                    <a:lumMod val="50000"/>
                  </a:schemeClr>
                </a:solidFill>
                <a:latin typeface="+mn-lt"/>
              </a:rPr>
              <a:t> Starter Kit Building Blocks</a:t>
            </a:r>
            <a:endParaRPr lang="LID4096" sz="2000"/>
          </a:p>
        </p:txBody>
      </p:sp>
      <p:sp>
        <p:nvSpPr>
          <p:cNvPr id="5" name="Footer Placeholder 4">
            <a:extLst>
              <a:ext uri="{FF2B5EF4-FFF2-40B4-BE49-F238E27FC236}">
                <a16:creationId xmlns:a16="http://schemas.microsoft.com/office/drawing/2014/main" id="{51E1E419-3250-671B-23E3-34BBE5861FA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357320843"/>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FI" dirty="0" err="1">
                <a:solidFill>
                  <a:srgbClr val="243A5E"/>
                </a:solidFill>
              </a:rPr>
              <a:t>CoE</a:t>
            </a:r>
            <a:r>
              <a:rPr lang="en-FI" dirty="0">
                <a:solidFill>
                  <a:srgbClr val="243A5E"/>
                </a:solidFill>
              </a:rPr>
              <a:t> Kit BYODL - </a:t>
            </a:r>
            <a:r>
              <a:rPr lang="en-US" dirty="0">
                <a:solidFill>
                  <a:srgbClr val="243A5E"/>
                </a:solidFill>
              </a:rPr>
              <a:t>Self-serve analytics architecture</a:t>
            </a:r>
            <a:r>
              <a:rPr lang="en-FI" dirty="0">
                <a:solidFill>
                  <a:srgbClr val="243A5E"/>
                </a:solidFill>
              </a:rPr>
              <a:t> (Preview)</a:t>
            </a:r>
            <a:endParaRPr lang="en-US" noProof="1">
              <a:solidFill>
                <a:srgbClr val="243A5E"/>
              </a:solidFill>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err="1">
                <a:solidFill>
                  <a:schemeClr val="tx2">
                    <a:lumMod val="50000"/>
                  </a:schemeClr>
                </a:solidFill>
                <a:latin typeface="+mn-lt"/>
              </a:rPr>
              <a:t>CoE</a:t>
            </a:r>
            <a:r>
              <a:rPr lang="en-GB" sz="2000">
                <a:solidFill>
                  <a:schemeClr val="tx2">
                    <a:lumMod val="50000"/>
                  </a:schemeClr>
                </a:solidFill>
                <a:latin typeface="+mn-lt"/>
              </a:rPr>
              <a:t> Starter Kit Building Blocks</a:t>
            </a:r>
            <a:endParaRPr lang="LID4096" sz="2000"/>
          </a:p>
        </p:txBody>
      </p:sp>
      <p:pic>
        <p:nvPicPr>
          <p:cNvPr id="5" name="Picture 4" descr="See the source image">
            <a:extLst>
              <a:ext uri="{FF2B5EF4-FFF2-40B4-BE49-F238E27FC236}">
                <a16:creationId xmlns:a16="http://schemas.microsoft.com/office/drawing/2014/main" id="{E26BE1CE-08D1-FD8F-7BEB-E3ADF2EF37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3969" y="2803125"/>
            <a:ext cx="1153103" cy="92248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2">
            <a:extLst>
              <a:ext uri="{FF2B5EF4-FFF2-40B4-BE49-F238E27FC236}">
                <a16:creationId xmlns:a16="http://schemas.microsoft.com/office/drawing/2014/main" id="{EBC10ABA-9DBE-88DB-2F3C-700D2C957379}"/>
              </a:ext>
            </a:extLst>
          </p:cNvPr>
          <p:cNvSpPr txBox="1"/>
          <p:nvPr/>
        </p:nvSpPr>
        <p:spPr>
          <a:xfrm>
            <a:off x="4380104" y="3774586"/>
            <a:ext cx="1587324" cy="129266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400"/>
              <a:t>Inventory and telemetry data is provided by Microsoft to your own Azure storage account</a:t>
            </a:r>
          </a:p>
        </p:txBody>
      </p:sp>
      <p:cxnSp>
        <p:nvCxnSpPr>
          <p:cNvPr id="9" name="Connector: Elbow 8">
            <a:extLst>
              <a:ext uri="{FF2B5EF4-FFF2-40B4-BE49-F238E27FC236}">
                <a16:creationId xmlns:a16="http://schemas.microsoft.com/office/drawing/2014/main" id="{6326B83B-29FD-3E8F-21C2-CB1869A48592}"/>
              </a:ext>
            </a:extLst>
          </p:cNvPr>
          <p:cNvCxnSpPr>
            <a:cxnSpLocks/>
          </p:cNvCxnSpPr>
          <p:nvPr/>
        </p:nvCxnSpPr>
        <p:spPr>
          <a:xfrm flipV="1">
            <a:off x="5619487" y="2643453"/>
            <a:ext cx="1005257" cy="536304"/>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E428BF63-A0A0-109B-E8D9-97672D7990D9}"/>
              </a:ext>
            </a:extLst>
          </p:cNvPr>
          <p:cNvCxnSpPr>
            <a:cxnSpLocks/>
          </p:cNvCxnSpPr>
          <p:nvPr/>
        </p:nvCxnSpPr>
        <p:spPr>
          <a:xfrm>
            <a:off x="5619487" y="3423274"/>
            <a:ext cx="1005257" cy="748468"/>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C10E7EA-7FE1-8CEA-D3F1-9BBBD8EF8FFA}"/>
              </a:ext>
            </a:extLst>
          </p:cNvPr>
          <p:cNvSpPr/>
          <p:nvPr/>
        </p:nvSpPr>
        <p:spPr bwMode="auto">
          <a:xfrm>
            <a:off x="6712537" y="2438804"/>
            <a:ext cx="409303" cy="409303"/>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3" name="Content Placeholder 14">
            <a:extLst>
              <a:ext uri="{FF2B5EF4-FFF2-40B4-BE49-F238E27FC236}">
                <a16:creationId xmlns:a16="http://schemas.microsoft.com/office/drawing/2014/main" id="{5D84BFF9-BD14-4573-98A7-2BA25DB3C1B0}"/>
              </a:ext>
            </a:extLst>
          </p:cNvPr>
          <p:cNvPicPr>
            <a:picLocks noGrp="1" noChangeAspect="1"/>
          </p:cNvPicPr>
          <p:nvPr/>
        </p:nvPicPr>
        <p:blipFill>
          <a:blip r:embed="rId5">
            <a:extLst>
              <a:ext uri="{28A0092B-C50C-407E-A947-70E740481C1C}">
                <a14:useLocalDpi xmlns:a14="http://schemas.microsoft.com/office/drawing/2010/main" val="0"/>
              </a:ext>
            </a:extLst>
          </a:blip>
          <a:stretch>
            <a:fillRect/>
          </a:stretch>
        </p:blipFill>
        <p:spPr>
          <a:xfrm>
            <a:off x="6764766" y="2491032"/>
            <a:ext cx="304843" cy="304843"/>
          </a:xfrm>
          <a:prstGeom prst="rect">
            <a:avLst/>
          </a:prstGeom>
        </p:spPr>
      </p:pic>
      <p:sp>
        <p:nvSpPr>
          <p:cNvPr id="14" name="TextBox 7">
            <a:extLst>
              <a:ext uri="{FF2B5EF4-FFF2-40B4-BE49-F238E27FC236}">
                <a16:creationId xmlns:a16="http://schemas.microsoft.com/office/drawing/2014/main" id="{8BEDB6B8-6414-0E37-E0A4-2CD543E70180}"/>
              </a:ext>
            </a:extLst>
          </p:cNvPr>
          <p:cNvSpPr txBox="1"/>
          <p:nvPr/>
        </p:nvSpPr>
        <p:spPr>
          <a:xfrm>
            <a:off x="6357257" y="2919127"/>
            <a:ext cx="1927020" cy="6463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400"/>
              <a:t>Power BI Dataflows prepare the data for the Power BI Dashboard</a:t>
            </a:r>
          </a:p>
        </p:txBody>
      </p:sp>
      <p:sp>
        <p:nvSpPr>
          <p:cNvPr id="15" name="Rectangle 14">
            <a:extLst>
              <a:ext uri="{FF2B5EF4-FFF2-40B4-BE49-F238E27FC236}">
                <a16:creationId xmlns:a16="http://schemas.microsoft.com/office/drawing/2014/main" id="{01F63C5C-7D84-3AE0-AB6F-EC75E53D8924}"/>
              </a:ext>
            </a:extLst>
          </p:cNvPr>
          <p:cNvSpPr/>
          <p:nvPr/>
        </p:nvSpPr>
        <p:spPr bwMode="auto">
          <a:xfrm>
            <a:off x="6712537" y="3998554"/>
            <a:ext cx="409303" cy="409303"/>
          </a:xfrm>
          <a:prstGeom prst="rect">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6" name="Content Placeholder 14">
            <a:extLst>
              <a:ext uri="{FF2B5EF4-FFF2-40B4-BE49-F238E27FC236}">
                <a16:creationId xmlns:a16="http://schemas.microsoft.com/office/drawing/2014/main" id="{DE1854B6-9346-ADFD-7706-957E8E8432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64766" y="4050783"/>
            <a:ext cx="304843" cy="304843"/>
          </a:xfrm>
          <a:prstGeom prst="rect">
            <a:avLst/>
          </a:prstGeom>
        </p:spPr>
      </p:pic>
      <p:sp>
        <p:nvSpPr>
          <p:cNvPr id="17" name="TextBox 10">
            <a:extLst>
              <a:ext uri="{FF2B5EF4-FFF2-40B4-BE49-F238E27FC236}">
                <a16:creationId xmlns:a16="http://schemas.microsoft.com/office/drawing/2014/main" id="{4AE435D9-55ED-B12C-9A78-4B79CEEF0AA0}"/>
              </a:ext>
            </a:extLst>
          </p:cNvPr>
          <p:cNvSpPr txBox="1"/>
          <p:nvPr/>
        </p:nvSpPr>
        <p:spPr>
          <a:xfrm>
            <a:off x="6357256" y="4481195"/>
            <a:ext cx="2020389" cy="129266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400"/>
              <a:t>Power Platform Dataflows write minimal data to Dataverse to merge with data gathered through </a:t>
            </a:r>
            <a:r>
              <a:rPr lang="en-GB" sz="1400" err="1"/>
              <a:t>CoE</a:t>
            </a:r>
            <a:r>
              <a:rPr lang="en-GB" sz="1400"/>
              <a:t> processes</a:t>
            </a:r>
          </a:p>
        </p:txBody>
      </p:sp>
      <p:pic>
        <p:nvPicPr>
          <p:cNvPr id="18" name="Picture 17">
            <a:extLst>
              <a:ext uri="{FF2B5EF4-FFF2-40B4-BE49-F238E27FC236}">
                <a16:creationId xmlns:a16="http://schemas.microsoft.com/office/drawing/2014/main" id="{30927C4B-DC8B-62F1-3B1E-6F27939B80A0}"/>
              </a:ext>
            </a:extLst>
          </p:cNvPr>
          <p:cNvPicPr>
            <a:picLocks noChangeAspect="1"/>
          </p:cNvPicPr>
          <p:nvPr/>
        </p:nvPicPr>
        <p:blipFill>
          <a:blip r:embed="rId6"/>
          <a:stretch>
            <a:fillRect/>
          </a:stretch>
        </p:blipFill>
        <p:spPr>
          <a:xfrm>
            <a:off x="1009014" y="2543303"/>
            <a:ext cx="3156805" cy="1481502"/>
          </a:xfrm>
          <a:prstGeom prst="rect">
            <a:avLst/>
          </a:prstGeom>
          <a:ln>
            <a:noFill/>
          </a:ln>
          <a:effectLst>
            <a:outerShdw blurRad="190500" algn="tl" rotWithShape="0">
              <a:srgbClr val="000000">
                <a:alpha val="70000"/>
              </a:srgbClr>
            </a:outerShdw>
          </a:effectLst>
        </p:spPr>
      </p:pic>
      <p:cxnSp>
        <p:nvCxnSpPr>
          <p:cNvPr id="19" name="Straight Arrow Connector 18">
            <a:extLst>
              <a:ext uri="{FF2B5EF4-FFF2-40B4-BE49-F238E27FC236}">
                <a16:creationId xmlns:a16="http://schemas.microsoft.com/office/drawing/2014/main" id="{77515656-E027-C149-9F37-CC05A9F11DDF}"/>
              </a:ext>
            </a:extLst>
          </p:cNvPr>
          <p:cNvCxnSpPr/>
          <p:nvPr/>
        </p:nvCxnSpPr>
        <p:spPr>
          <a:xfrm flipV="1">
            <a:off x="4250574" y="3275343"/>
            <a:ext cx="452063" cy="17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Picture 43">
            <a:extLst>
              <a:ext uri="{FF2B5EF4-FFF2-40B4-BE49-F238E27FC236}">
                <a16:creationId xmlns:a16="http://schemas.microsoft.com/office/drawing/2014/main" id="{E346B0D5-3E08-E76D-7CDA-82823B6F0B88}"/>
              </a:ext>
            </a:extLst>
          </p:cNvPr>
          <p:cNvPicPr>
            <a:picLocks noChangeAspect="1"/>
          </p:cNvPicPr>
          <p:nvPr/>
        </p:nvPicPr>
        <p:blipFill>
          <a:blip r:embed="rId7"/>
          <a:stretch>
            <a:fillRect/>
          </a:stretch>
        </p:blipFill>
        <p:spPr>
          <a:xfrm>
            <a:off x="8482489" y="2220723"/>
            <a:ext cx="2825959" cy="1597698"/>
          </a:xfrm>
          <a:prstGeom prst="rect">
            <a:avLst/>
          </a:prstGeom>
          <a:ln>
            <a:noFill/>
          </a:ln>
          <a:effectLst>
            <a:outerShdw blurRad="190500" algn="tl" rotWithShape="0">
              <a:srgbClr val="000000">
                <a:alpha val="70000"/>
              </a:srgbClr>
            </a:outerShdw>
          </a:effectLst>
        </p:spPr>
      </p:pic>
      <p:cxnSp>
        <p:nvCxnSpPr>
          <p:cNvPr id="21" name="Straight Arrow Connector 20">
            <a:extLst>
              <a:ext uri="{FF2B5EF4-FFF2-40B4-BE49-F238E27FC236}">
                <a16:creationId xmlns:a16="http://schemas.microsoft.com/office/drawing/2014/main" id="{53F62C45-2F77-B812-FAE2-C86238487FD5}"/>
              </a:ext>
            </a:extLst>
          </p:cNvPr>
          <p:cNvCxnSpPr>
            <a:cxnSpLocks/>
          </p:cNvCxnSpPr>
          <p:nvPr/>
        </p:nvCxnSpPr>
        <p:spPr>
          <a:xfrm>
            <a:off x="7205955" y="2643453"/>
            <a:ext cx="107832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2" name="Picture 46">
            <a:extLst>
              <a:ext uri="{FF2B5EF4-FFF2-40B4-BE49-F238E27FC236}">
                <a16:creationId xmlns:a16="http://schemas.microsoft.com/office/drawing/2014/main" id="{2808CBC7-5B0F-44D7-AD2D-2DE8DD561CA3}"/>
              </a:ext>
            </a:extLst>
          </p:cNvPr>
          <p:cNvPicPr>
            <a:picLocks noChangeAspect="1"/>
          </p:cNvPicPr>
          <p:nvPr/>
        </p:nvPicPr>
        <p:blipFill>
          <a:blip r:embed="rId8"/>
          <a:stretch>
            <a:fillRect/>
          </a:stretch>
        </p:blipFill>
        <p:spPr>
          <a:xfrm>
            <a:off x="8429874" y="3998554"/>
            <a:ext cx="2931320" cy="1447339"/>
          </a:xfrm>
          <a:prstGeom prst="rect">
            <a:avLst/>
          </a:prstGeom>
          <a:ln>
            <a:noFill/>
          </a:ln>
          <a:effectLst>
            <a:outerShdw blurRad="190500" algn="tl" rotWithShape="0">
              <a:srgbClr val="000000">
                <a:alpha val="70000"/>
              </a:srgbClr>
            </a:outerShdw>
          </a:effectLst>
        </p:spPr>
      </p:pic>
      <p:cxnSp>
        <p:nvCxnSpPr>
          <p:cNvPr id="23" name="Straight Arrow Connector 22">
            <a:extLst>
              <a:ext uri="{FF2B5EF4-FFF2-40B4-BE49-F238E27FC236}">
                <a16:creationId xmlns:a16="http://schemas.microsoft.com/office/drawing/2014/main" id="{8F8E1394-AEE5-B076-CE60-B4B4DB7AB068}"/>
              </a:ext>
            </a:extLst>
          </p:cNvPr>
          <p:cNvCxnSpPr>
            <a:cxnSpLocks/>
          </p:cNvCxnSpPr>
          <p:nvPr/>
        </p:nvCxnSpPr>
        <p:spPr>
          <a:xfrm>
            <a:off x="7205956" y="4203204"/>
            <a:ext cx="107832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
            <a:extLst>
              <a:ext uri="{FF2B5EF4-FFF2-40B4-BE49-F238E27FC236}">
                <a16:creationId xmlns:a16="http://schemas.microsoft.com/office/drawing/2014/main" id="{D106D918-340D-74A9-DBBE-EE01B96BEECA}"/>
              </a:ext>
            </a:extLst>
          </p:cNvPr>
          <p:cNvSpPr txBox="1"/>
          <p:nvPr/>
        </p:nvSpPr>
        <p:spPr>
          <a:xfrm>
            <a:off x="1021176" y="4273757"/>
            <a:ext cx="3078215" cy="6463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FI" sz="1400"/>
              <a:t>Includes Environments, Power Apps, Cloud Flows, connections and usage of Apps and Cloud Flows  </a:t>
            </a:r>
            <a:endParaRPr lang="en-GB" sz="1400"/>
          </a:p>
        </p:txBody>
      </p:sp>
      <p:sp>
        <p:nvSpPr>
          <p:cNvPr id="2" name="Footer Placeholder 4">
            <a:extLst>
              <a:ext uri="{FF2B5EF4-FFF2-40B4-BE49-F238E27FC236}">
                <a16:creationId xmlns:a16="http://schemas.microsoft.com/office/drawing/2014/main" id="{442B6223-EB2D-5E34-338B-3980D33F932E}"/>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821480253"/>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err="1">
                <a:solidFill>
                  <a:srgbClr val="243A5E"/>
                </a:solidFill>
              </a:rPr>
              <a:t>Dataverse</a:t>
            </a:r>
            <a:r>
              <a:rPr lang="en-GB">
                <a:solidFill>
                  <a:srgbClr val="243A5E"/>
                </a:solidFill>
              </a:rPr>
              <a:t> Tables</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440361"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0"/>
              </a:spcBef>
              <a:spcAft>
                <a:spcPts val="600"/>
              </a:spcAft>
              <a:buNone/>
            </a:pPr>
            <a:r>
              <a:rPr lang="en-US" sz="2000">
                <a:cs typeface="Segoe UI"/>
              </a:rPr>
              <a:t>The </a:t>
            </a:r>
            <a:r>
              <a:rPr lang="en-FI" sz="2000">
                <a:cs typeface="Segoe UI"/>
              </a:rPr>
              <a:t>inventory f</a:t>
            </a:r>
            <a:r>
              <a:rPr lang="en-US" sz="2000">
                <a:cs typeface="Segoe UI"/>
              </a:rPr>
              <a:t>lows of the </a:t>
            </a:r>
            <a:r>
              <a:rPr lang="en-US" sz="2000" err="1">
                <a:cs typeface="Segoe UI"/>
              </a:rPr>
              <a:t>CoE</a:t>
            </a:r>
            <a:r>
              <a:rPr lang="en-US" sz="2000">
                <a:cs typeface="Segoe UI"/>
              </a:rPr>
              <a:t> Starter Kit sync your tenant resources to the </a:t>
            </a:r>
            <a:r>
              <a:rPr lang="en-US" sz="2000" err="1">
                <a:cs typeface="Segoe UI"/>
              </a:rPr>
              <a:t>Dataverse</a:t>
            </a:r>
            <a:r>
              <a:rPr lang="en-US" sz="2000">
                <a:cs typeface="Segoe UI"/>
              </a:rPr>
              <a:t> tables.</a:t>
            </a:r>
            <a:endParaRPr lang="en-US">
              <a:cs typeface="Segoe UI"/>
            </a:endParaRPr>
          </a:p>
          <a:p>
            <a:pPr marL="310515" indent="-310515">
              <a:spcBef>
                <a:spcPts val="0"/>
              </a:spcBef>
              <a:spcAft>
                <a:spcPts val="600"/>
              </a:spcAft>
            </a:pPr>
            <a:endParaRPr lang="en-US" sz="2000">
              <a:cs typeface="Segoe UI"/>
            </a:endParaRPr>
          </a:p>
          <a:p>
            <a:pPr marL="0" indent="0">
              <a:spcBef>
                <a:spcPts val="0"/>
              </a:spcBef>
              <a:spcAft>
                <a:spcPts val="600"/>
              </a:spcAft>
              <a:buNone/>
            </a:pPr>
            <a:r>
              <a:rPr lang="en-US" sz="2000">
                <a:cs typeface="Segoe UI"/>
              </a:rPr>
              <a:t>All tables provide information about created by/on and modified by/on, in addition to resource-specific information.</a:t>
            </a:r>
            <a:endParaRPr lang="en-US"/>
          </a:p>
          <a:p>
            <a:pPr marL="0" indent="0">
              <a:spcBef>
                <a:spcPts val="0"/>
              </a:spcBef>
              <a:spcAft>
                <a:spcPts val="600"/>
              </a:spcAft>
              <a:buNone/>
            </a:pP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endParaRPr lang="LID4096" sz="2000"/>
          </a:p>
        </p:txBody>
      </p:sp>
      <p:pic>
        <p:nvPicPr>
          <p:cNvPr id="10" name="Picture 9">
            <a:extLst>
              <a:ext uri="{FF2B5EF4-FFF2-40B4-BE49-F238E27FC236}">
                <a16:creationId xmlns:a16="http://schemas.microsoft.com/office/drawing/2014/main" id="{AF181F70-98C5-2DD2-4E49-3D2912E7A96D}"/>
              </a:ext>
            </a:extLst>
          </p:cNvPr>
          <p:cNvPicPr>
            <a:picLocks noChangeAspect="1"/>
          </p:cNvPicPr>
          <p:nvPr/>
        </p:nvPicPr>
        <p:blipFill>
          <a:blip r:embed="rId5"/>
          <a:stretch>
            <a:fillRect/>
          </a:stretch>
        </p:blipFill>
        <p:spPr>
          <a:xfrm>
            <a:off x="6422147" y="1408114"/>
            <a:ext cx="5632729" cy="5250626"/>
          </a:xfrm>
          <a:prstGeom prst="rect">
            <a:avLst/>
          </a:prstGeom>
        </p:spPr>
      </p:pic>
      <p:sp>
        <p:nvSpPr>
          <p:cNvPr id="5" name="Footer Placeholder 4">
            <a:extLst>
              <a:ext uri="{FF2B5EF4-FFF2-40B4-BE49-F238E27FC236}">
                <a16:creationId xmlns:a16="http://schemas.microsoft.com/office/drawing/2014/main" id="{2AC3C1CF-8655-0A53-7BF5-AA4D30F74D49}"/>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707684876"/>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Sync Templates – Cleanup Flows</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6117302"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0"/>
              </a:spcBef>
              <a:spcAft>
                <a:spcPts val="600"/>
              </a:spcAft>
              <a:buNone/>
            </a:pPr>
            <a:r>
              <a:rPr lang="en-US" sz="2000" dirty="0">
                <a:cs typeface="Segoe UI"/>
              </a:rPr>
              <a:t>Cleanup specific resources from the Dataverse tables like orphaned makers, Power Apps sharing information, and objects, which are in deleted states.</a:t>
            </a:r>
            <a:endParaRPr lang="en-FI" sz="2000" dirty="0">
              <a:cs typeface="Segoe UI"/>
            </a:endParaRPr>
          </a:p>
          <a:p>
            <a:pPr marL="0" indent="0">
              <a:spcBef>
                <a:spcPts val="0"/>
              </a:spcBef>
              <a:spcAft>
                <a:spcPts val="600"/>
              </a:spcAft>
              <a:buNone/>
            </a:pPr>
            <a:endParaRPr lang="en-FI" sz="2000" dirty="0">
              <a:cs typeface="Segoe UI"/>
            </a:endParaRPr>
          </a:p>
          <a:p>
            <a:pPr marL="0" indent="0">
              <a:spcBef>
                <a:spcPts val="0"/>
              </a:spcBef>
              <a:spcAft>
                <a:spcPts val="600"/>
              </a:spcAft>
              <a:buNone/>
            </a:pPr>
            <a:r>
              <a:rPr lang="en-FI" sz="2000" dirty="0">
                <a:cs typeface="Segoe UI"/>
              </a:rPr>
              <a:t>You can </a:t>
            </a:r>
            <a:r>
              <a:rPr lang="en-US" sz="2000" dirty="0">
                <a:cs typeface="Segoe UI"/>
              </a:rPr>
              <a:t>control </a:t>
            </a:r>
            <a:r>
              <a:rPr lang="en-US" sz="2000">
                <a:cs typeface="Segoe UI"/>
              </a:rPr>
              <a:t>what resources are </a:t>
            </a:r>
            <a:r>
              <a:rPr lang="en-FI" sz="2000">
                <a:cs typeface="Segoe UI"/>
              </a:rPr>
              <a:t>really </a:t>
            </a:r>
            <a:r>
              <a:rPr lang="en-FI" sz="2000" dirty="0">
                <a:cs typeface="Segoe UI"/>
              </a:rPr>
              <a:t>deleted or just marked as deleted using </a:t>
            </a:r>
            <a:r>
              <a:rPr lang="en-US" sz="2000" b="1" dirty="0">
                <a:cs typeface="Segoe UI"/>
              </a:rPr>
              <a:t>Also Delete from </a:t>
            </a:r>
            <a:r>
              <a:rPr lang="en-US" sz="2000" b="1" dirty="0" err="1">
                <a:cs typeface="Segoe UI"/>
              </a:rPr>
              <a:t>CoE</a:t>
            </a:r>
            <a:r>
              <a:rPr lang="en-FI" sz="2000" b="1" dirty="0">
                <a:cs typeface="Segoe UI"/>
              </a:rPr>
              <a:t> </a:t>
            </a:r>
            <a:r>
              <a:rPr lang="en-FI" sz="2000" dirty="0">
                <a:cs typeface="Segoe UI"/>
              </a:rPr>
              <a:t>environment variable (Yes/No). Default value is Yes</a:t>
            </a:r>
            <a:endParaRPr lang="en-FI" sz="2000" b="1" dirty="0">
              <a:cs typeface="Segoe UI"/>
            </a:endParaRPr>
          </a:p>
          <a:p>
            <a:pPr marL="0" indent="0">
              <a:spcBef>
                <a:spcPts val="0"/>
              </a:spcBef>
              <a:spcAft>
                <a:spcPts val="600"/>
              </a:spcAft>
              <a:buNone/>
            </a:pPr>
            <a:endParaRPr lang="en-US" dirty="0"/>
          </a:p>
          <a:p>
            <a:pPr marL="310515" indent="-310515">
              <a:spcBef>
                <a:spcPts val="0"/>
              </a:spcBef>
              <a:spcAft>
                <a:spcPts val="600"/>
              </a:spcAft>
            </a:pPr>
            <a:endParaRPr lang="en-US" sz="2000" dirty="0"/>
          </a:p>
          <a:p>
            <a:pPr marL="0" indent="0">
              <a:spcBef>
                <a:spcPts val="0"/>
              </a:spcBef>
              <a:spcAft>
                <a:spcPts val="600"/>
              </a:spcAft>
              <a:buNone/>
            </a:pPr>
            <a:endParaRPr lang="en-US" sz="1800" dirty="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81206"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FI" sz="1600">
                <a:solidFill>
                  <a:schemeClr val="tx2">
                    <a:lumMod val="50000"/>
                  </a:schemeClr>
                </a:solidFill>
                <a:latin typeface="+mn-lt"/>
              </a:rPr>
              <a:t>Cloud </a:t>
            </a:r>
            <a:r>
              <a:rPr lang="en-GB" sz="1600">
                <a:solidFill>
                  <a:schemeClr val="tx2">
                    <a:lumMod val="50000"/>
                  </a:schemeClr>
                </a:solidFill>
                <a:latin typeface="+mn-lt"/>
              </a:rPr>
              <a:t>Flows</a:t>
            </a:r>
            <a:endParaRPr lang="LID4096" sz="1600"/>
          </a:p>
        </p:txBody>
      </p:sp>
      <p:pic>
        <p:nvPicPr>
          <p:cNvPr id="7" name="Picture 6">
            <a:extLst>
              <a:ext uri="{FF2B5EF4-FFF2-40B4-BE49-F238E27FC236}">
                <a16:creationId xmlns:a16="http://schemas.microsoft.com/office/drawing/2014/main" id="{A15FF340-73AE-B726-D873-D3DCF01126F2}"/>
              </a:ext>
            </a:extLst>
          </p:cNvPr>
          <p:cNvPicPr>
            <a:picLocks noChangeAspect="1"/>
          </p:cNvPicPr>
          <p:nvPr/>
        </p:nvPicPr>
        <p:blipFill>
          <a:blip r:embed="rId5"/>
          <a:stretch>
            <a:fillRect/>
          </a:stretch>
        </p:blipFill>
        <p:spPr>
          <a:xfrm>
            <a:off x="7666074" y="1408114"/>
            <a:ext cx="4173439" cy="4827783"/>
          </a:xfrm>
          <a:prstGeom prst="rect">
            <a:avLst/>
          </a:prstGeom>
        </p:spPr>
      </p:pic>
      <p:sp>
        <p:nvSpPr>
          <p:cNvPr id="5" name="Footer Placeholder 4">
            <a:extLst>
              <a:ext uri="{FF2B5EF4-FFF2-40B4-BE49-F238E27FC236}">
                <a16:creationId xmlns:a16="http://schemas.microsoft.com/office/drawing/2014/main" id="{2169AFAD-96F9-8FF1-0626-B1B23F2649D3}"/>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553586215"/>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a:solidFill>
                  <a:srgbClr val="243A5E"/>
                </a:solidFill>
                <a:cs typeface="Segoe UI"/>
              </a:rPr>
              <a:t>Environment Variables</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8116222" cy="4819650"/>
          </a:xfrm>
        </p:spPr>
        <p:txBody>
          <a:bodyPr vert="horz" lIns="0" tIns="0" rIns="0" bIns="0" rtlCol="0" anchor="t">
            <a:normAutofit fontScale="925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0"/>
              </a:spcBef>
              <a:spcAft>
                <a:spcPts val="600"/>
              </a:spcAft>
              <a:buNone/>
            </a:pPr>
            <a:r>
              <a:rPr lang="en-US" sz="1900"/>
              <a:t>Core Component contains following environment variables, which are used to define and control certain </a:t>
            </a:r>
            <a:r>
              <a:rPr lang="en-US" sz="1900" err="1"/>
              <a:t>CoE</a:t>
            </a:r>
            <a:r>
              <a:rPr lang="en-US" sz="1900"/>
              <a:t> functionalities and settings. Few examples are:</a:t>
            </a:r>
          </a:p>
          <a:p>
            <a:pPr marL="310515" indent="-310515">
              <a:spcBef>
                <a:spcPts val="0"/>
              </a:spcBef>
              <a:spcAft>
                <a:spcPts val="600"/>
              </a:spcAft>
            </a:pPr>
            <a:r>
              <a:rPr lang="en-US" sz="1700" b="1"/>
              <a:t>Admin </a:t>
            </a:r>
            <a:r>
              <a:rPr lang="en-US" sz="1700" b="1" err="1"/>
              <a:t>eMail</a:t>
            </a:r>
            <a:r>
              <a:rPr lang="en-US" sz="1700" b="1"/>
              <a:t> </a:t>
            </a:r>
            <a:r>
              <a:rPr lang="en-US" sz="1700"/>
              <a:t>- Email address used in flows to send notifications to admins; should be either your email address or a distribution list</a:t>
            </a:r>
          </a:p>
          <a:p>
            <a:pPr marL="310515" indent="-310515">
              <a:spcBef>
                <a:spcPts val="0"/>
              </a:spcBef>
              <a:spcAft>
                <a:spcPts val="600"/>
              </a:spcAft>
            </a:pPr>
            <a:r>
              <a:rPr lang="en-US" sz="1700" b="1"/>
              <a:t>Power Automate environment variable</a:t>
            </a:r>
            <a:r>
              <a:rPr lang="en-US" sz="1700"/>
              <a:t> - The URL used by flow for your region</a:t>
            </a:r>
          </a:p>
          <a:p>
            <a:pPr marL="310515" indent="-310515">
              <a:spcBef>
                <a:spcPts val="0"/>
              </a:spcBef>
              <a:spcAft>
                <a:spcPts val="600"/>
              </a:spcAft>
            </a:pPr>
            <a:r>
              <a:rPr lang="en-US" sz="1700" b="1"/>
              <a:t>Also Delete from </a:t>
            </a:r>
            <a:r>
              <a:rPr lang="en-US" sz="1700" b="1" err="1"/>
              <a:t>CoE</a:t>
            </a:r>
            <a:r>
              <a:rPr lang="en-US" sz="1700" b="1"/>
              <a:t> </a:t>
            </a:r>
            <a:r>
              <a:rPr lang="en-US" sz="1700"/>
              <a:t>- Recommend Yes here to delete objects from the </a:t>
            </a:r>
            <a:r>
              <a:rPr lang="en-US" sz="1700" err="1"/>
              <a:t>CoE</a:t>
            </a:r>
            <a:r>
              <a:rPr lang="en-US" sz="1700"/>
              <a:t> inventory when they're deleted from the tenant. No will keep a record that an app or flow existed in the past</a:t>
            </a:r>
          </a:p>
          <a:p>
            <a:pPr marL="310515" indent="-310515">
              <a:spcBef>
                <a:spcPts val="0"/>
              </a:spcBef>
              <a:spcAft>
                <a:spcPts val="600"/>
              </a:spcAft>
            </a:pPr>
            <a:r>
              <a:rPr lang="en-US" sz="1700" b="1"/>
              <a:t>Graph URL Environment Variable</a:t>
            </a:r>
            <a:r>
              <a:rPr lang="en-FI" sz="1700" b="1"/>
              <a:t> </a:t>
            </a:r>
            <a:r>
              <a:rPr lang="en-US" sz="1700"/>
              <a:t>- REQUIRED. The URL used to get graph information for your cloud. Ex https://graph.microsoft.com</a:t>
            </a:r>
            <a:endParaRPr lang="en-FI" sz="1700"/>
          </a:p>
          <a:p>
            <a:pPr marL="0" indent="0">
              <a:spcBef>
                <a:spcPts val="0"/>
              </a:spcBef>
              <a:spcAft>
                <a:spcPts val="600"/>
              </a:spcAft>
              <a:buNone/>
            </a:pPr>
            <a:endParaRPr lang="en-US" sz="800"/>
          </a:p>
          <a:p>
            <a:pPr marL="0" indent="0">
              <a:spcBef>
                <a:spcPts val="0"/>
              </a:spcBef>
              <a:spcAft>
                <a:spcPts val="600"/>
              </a:spcAft>
              <a:buNone/>
            </a:pPr>
            <a:r>
              <a:rPr lang="en-US" sz="1900">
                <a:cs typeface="Segoe UI"/>
              </a:rPr>
              <a:t>Some can be set during the solution import, and some might be needed to update afterwards depending which </a:t>
            </a:r>
            <a:r>
              <a:rPr lang="en-US" sz="1900" err="1">
                <a:cs typeface="Segoe UI"/>
              </a:rPr>
              <a:t>CoE</a:t>
            </a:r>
            <a:r>
              <a:rPr lang="en-US" sz="1900">
                <a:cs typeface="Segoe UI"/>
              </a:rPr>
              <a:t> components will be used.</a:t>
            </a:r>
            <a:endParaRPr lang="en-US" sz="1900"/>
          </a:p>
          <a:p>
            <a:pPr marL="0" indent="0">
              <a:spcBef>
                <a:spcPts val="0"/>
              </a:spcBef>
              <a:spcAft>
                <a:spcPts val="600"/>
              </a:spcAft>
              <a:buNone/>
            </a:pPr>
            <a:endParaRPr lang="en-US" sz="900"/>
          </a:p>
          <a:p>
            <a:pPr marL="0" indent="0">
              <a:spcBef>
                <a:spcPts val="0"/>
              </a:spcBef>
              <a:spcAft>
                <a:spcPts val="600"/>
              </a:spcAft>
              <a:buNone/>
            </a:pPr>
            <a:r>
              <a:rPr lang="en-US" sz="1900">
                <a:cs typeface="Segoe UI"/>
              </a:rPr>
              <a:t>Environment variables can be set in </a:t>
            </a:r>
            <a:r>
              <a:rPr lang="en-US" sz="1900" b="1">
                <a:cs typeface="Segoe UI"/>
              </a:rPr>
              <a:t>new solution view</a:t>
            </a:r>
            <a:r>
              <a:rPr lang="en-FI" sz="1900" b="1">
                <a:cs typeface="Segoe UI"/>
              </a:rPr>
              <a:t> </a:t>
            </a:r>
            <a:r>
              <a:rPr lang="en-FI" sz="1900">
                <a:cs typeface="Segoe UI"/>
              </a:rPr>
              <a:t>but not updated. To change the value use </a:t>
            </a:r>
            <a:r>
              <a:rPr lang="en-US" sz="1900" b="1">
                <a:cs typeface="Segoe UI"/>
              </a:rPr>
              <a:t>Admin – Command Center </a:t>
            </a:r>
            <a:r>
              <a:rPr lang="en-US" sz="1900">
                <a:cs typeface="Segoe UI"/>
              </a:rPr>
              <a:t>canvas app</a:t>
            </a:r>
            <a:r>
              <a:rPr lang="en-FI" sz="1900">
                <a:cs typeface="Segoe UI"/>
              </a:rPr>
              <a:t> (recommended) or default solution</a:t>
            </a:r>
            <a:r>
              <a:rPr lang="en-US" sz="1900">
                <a:cs typeface="Segoe UI"/>
              </a:rPr>
              <a:t>.</a:t>
            </a:r>
            <a:endParaRPr lang="en-US" sz="1900"/>
          </a:p>
          <a:p>
            <a:pPr marL="0" indent="0">
              <a:spcBef>
                <a:spcPts val="0"/>
              </a:spcBef>
              <a:spcAft>
                <a:spcPts val="600"/>
              </a:spcAft>
              <a:buNone/>
            </a:pP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endParaRPr lang="LID4096" sz="2000"/>
          </a:p>
        </p:txBody>
      </p:sp>
      <p:sp>
        <p:nvSpPr>
          <p:cNvPr id="9" name="TextBox 8">
            <a:extLst>
              <a:ext uri="{FF2B5EF4-FFF2-40B4-BE49-F238E27FC236}">
                <a16:creationId xmlns:a16="http://schemas.microsoft.com/office/drawing/2014/main" id="{9813DF2D-53E7-AED5-4C7A-C19FEA21C9EB}"/>
              </a:ext>
            </a:extLst>
          </p:cNvPr>
          <p:cNvSpPr txBox="1"/>
          <p:nvPr/>
        </p:nvSpPr>
        <p:spPr>
          <a:xfrm>
            <a:off x="571235" y="6217558"/>
            <a:ext cx="8359851" cy="523220"/>
          </a:xfrm>
          <a:prstGeom prst="rect">
            <a:avLst/>
          </a:prstGeom>
          <a:noFill/>
        </p:spPr>
        <p:txBody>
          <a:bodyPr wrap="square">
            <a:spAutoFit/>
          </a:bodyPr>
          <a:lstStyle/>
          <a:p>
            <a:r>
              <a:rPr lang="en-FI" sz="1400">
                <a:hlinkClick r:id="rId5"/>
              </a:rPr>
              <a:t>https://learn.microsoft.com/en-us/power-platform/guidance/coe/setup-core-components#all-environment-variables</a:t>
            </a:r>
            <a:r>
              <a:rPr lang="en-FI" sz="1400"/>
              <a:t> </a:t>
            </a:r>
          </a:p>
        </p:txBody>
      </p:sp>
      <p:pic>
        <p:nvPicPr>
          <p:cNvPr id="11" name="Picture 10">
            <a:extLst>
              <a:ext uri="{FF2B5EF4-FFF2-40B4-BE49-F238E27FC236}">
                <a16:creationId xmlns:a16="http://schemas.microsoft.com/office/drawing/2014/main" id="{754A07E9-0690-2AE1-ED87-C2E6C1A211BA}"/>
              </a:ext>
            </a:extLst>
          </p:cNvPr>
          <p:cNvPicPr>
            <a:picLocks noChangeAspect="1"/>
          </p:cNvPicPr>
          <p:nvPr/>
        </p:nvPicPr>
        <p:blipFill>
          <a:blip r:embed="rId6"/>
          <a:stretch>
            <a:fillRect/>
          </a:stretch>
        </p:blipFill>
        <p:spPr>
          <a:xfrm>
            <a:off x="8796668" y="1387241"/>
            <a:ext cx="3010055" cy="5086611"/>
          </a:xfrm>
          <a:prstGeom prst="rect">
            <a:avLst/>
          </a:prstGeom>
        </p:spPr>
      </p:pic>
      <p:sp>
        <p:nvSpPr>
          <p:cNvPr id="5" name="Footer Placeholder 4">
            <a:extLst>
              <a:ext uri="{FF2B5EF4-FFF2-40B4-BE49-F238E27FC236}">
                <a16:creationId xmlns:a16="http://schemas.microsoft.com/office/drawing/2014/main" id="{31036E5C-B8EE-825D-E9BC-FA1578635AA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4241482967"/>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a:solidFill>
                  <a:srgbClr val="243A5E"/>
                </a:solidFill>
                <a:cs typeface="Segoe UI"/>
              </a:rPr>
              <a:t>Security Roles</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440361"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0"/>
              </a:spcBef>
              <a:spcAft>
                <a:spcPts val="600"/>
              </a:spcAft>
              <a:buNone/>
            </a:pPr>
            <a:r>
              <a:rPr lang="en-US" sz="2000" b="1"/>
              <a:t>Power Platform Admin SR </a:t>
            </a:r>
          </a:p>
          <a:p>
            <a:pPr marL="0" indent="0">
              <a:spcBef>
                <a:spcPts val="0"/>
              </a:spcBef>
              <a:spcAft>
                <a:spcPts val="600"/>
              </a:spcAft>
              <a:buNone/>
            </a:pPr>
            <a:r>
              <a:rPr lang="en-US" sz="2000">
                <a:cs typeface="Segoe UI"/>
              </a:rPr>
              <a:t>Gives full access to create, read, write, and delete operations on the custom tables</a:t>
            </a:r>
          </a:p>
          <a:p>
            <a:pPr marL="0" indent="0">
              <a:spcBef>
                <a:spcPts val="0"/>
              </a:spcBef>
              <a:spcAft>
                <a:spcPts val="600"/>
              </a:spcAft>
              <a:buNone/>
            </a:pPr>
            <a:endParaRPr lang="en-US" sz="2000"/>
          </a:p>
          <a:p>
            <a:pPr marL="0" indent="0">
              <a:spcBef>
                <a:spcPts val="0"/>
              </a:spcBef>
              <a:spcAft>
                <a:spcPts val="600"/>
              </a:spcAft>
              <a:buNone/>
            </a:pPr>
            <a:r>
              <a:rPr lang="en-US" sz="2000" b="1"/>
              <a:t>Power Platform Maker SR </a:t>
            </a:r>
          </a:p>
          <a:p>
            <a:pPr marL="0" indent="0">
              <a:spcBef>
                <a:spcPts val="0"/>
              </a:spcBef>
              <a:spcAft>
                <a:spcPts val="600"/>
              </a:spcAft>
              <a:buNone/>
            </a:pPr>
            <a:r>
              <a:rPr lang="en-US" sz="2000">
                <a:cs typeface="Segoe UI"/>
              </a:rPr>
              <a:t>Gives read and write access to the custom tables (environments, apps, and so on)</a:t>
            </a:r>
            <a:endParaRPr lang="en-US" sz="2000"/>
          </a:p>
          <a:p>
            <a:pPr marL="0" indent="0">
              <a:spcBef>
                <a:spcPts val="0"/>
              </a:spcBef>
              <a:spcAft>
                <a:spcPts val="600"/>
              </a:spcAft>
              <a:buNone/>
            </a:pPr>
            <a:endParaRPr lang="en-US" sz="2000"/>
          </a:p>
          <a:p>
            <a:pPr marL="0" indent="0">
              <a:spcBef>
                <a:spcPts val="0"/>
              </a:spcBef>
              <a:spcAft>
                <a:spcPts val="600"/>
              </a:spcAft>
              <a:buNone/>
            </a:pPr>
            <a:r>
              <a:rPr lang="en-US" sz="2000" b="1"/>
              <a:t>Power Platform User SR</a:t>
            </a:r>
          </a:p>
          <a:p>
            <a:pPr marL="0" indent="0">
              <a:spcBef>
                <a:spcPts val="0"/>
              </a:spcBef>
              <a:spcAft>
                <a:spcPts val="600"/>
              </a:spcAft>
              <a:buNone/>
            </a:pPr>
            <a:r>
              <a:rPr lang="en-US" sz="2000">
                <a:cs typeface="Segoe UI"/>
              </a:rPr>
              <a:t>Gives read-only access to the resources in the custom tables</a:t>
            </a: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55637"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endParaRPr lang="LID4096" sz="2000"/>
          </a:p>
        </p:txBody>
      </p:sp>
      <p:pic>
        <p:nvPicPr>
          <p:cNvPr id="7" name="Picture 6">
            <a:extLst>
              <a:ext uri="{FF2B5EF4-FFF2-40B4-BE49-F238E27FC236}">
                <a16:creationId xmlns:a16="http://schemas.microsoft.com/office/drawing/2014/main" id="{5E0CC558-D4F5-8E62-92C9-1012CB4FFDAC}"/>
              </a:ext>
            </a:extLst>
          </p:cNvPr>
          <p:cNvPicPr>
            <a:picLocks noChangeAspect="1"/>
          </p:cNvPicPr>
          <p:nvPr/>
        </p:nvPicPr>
        <p:blipFill>
          <a:blip r:embed="rId5"/>
          <a:stretch>
            <a:fillRect/>
          </a:stretch>
        </p:blipFill>
        <p:spPr>
          <a:xfrm>
            <a:off x="7150100" y="1576651"/>
            <a:ext cx="4386262" cy="2141889"/>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51B180C9-ECB4-8DD5-653C-241573B418A6}"/>
              </a:ext>
            </a:extLst>
          </p:cNvPr>
          <p:cNvSpPr txBox="1"/>
          <p:nvPr/>
        </p:nvSpPr>
        <p:spPr>
          <a:xfrm>
            <a:off x="483325" y="6046627"/>
            <a:ext cx="10628812" cy="307777"/>
          </a:xfrm>
          <a:prstGeom prst="rect">
            <a:avLst/>
          </a:prstGeom>
          <a:noFill/>
        </p:spPr>
        <p:txBody>
          <a:bodyPr wrap="square">
            <a:spAutoFit/>
          </a:bodyPr>
          <a:lstStyle/>
          <a:p>
            <a:r>
              <a:rPr lang="en-FI" sz="1400">
                <a:hlinkClick r:id="rId6"/>
              </a:rPr>
              <a:t>https://learn.microsoft.com/en-us/power-platform/guidance/coe/core-components#security-roles</a:t>
            </a:r>
            <a:r>
              <a:rPr lang="en-FI" sz="1400"/>
              <a:t> </a:t>
            </a:r>
          </a:p>
        </p:txBody>
      </p:sp>
      <p:sp>
        <p:nvSpPr>
          <p:cNvPr id="5" name="Footer Placeholder 4">
            <a:extLst>
              <a:ext uri="{FF2B5EF4-FFF2-40B4-BE49-F238E27FC236}">
                <a16:creationId xmlns:a16="http://schemas.microsoft.com/office/drawing/2014/main" id="{109E756A-5562-95C4-4942-186F4D612304}"/>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619086979"/>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ower Platform Admin View</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6480268" cy="4819650"/>
          </a:xfrm>
        </p:spPr>
        <p:txBody>
          <a:bodyPr>
            <a:normAutofit lnSpcReduction="1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400">
                <a:solidFill>
                  <a:srgbClr val="3C3C41"/>
                </a:solidFill>
                <a:latin typeface="Segoe UI"/>
                <a:cs typeface="Segoe UI"/>
              </a:rPr>
              <a:t>P</a:t>
            </a:r>
            <a:r>
              <a:rPr kumimoji="0" lang="en-US" sz="2400" b="0" i="0" u="none" strike="noStrike" kern="1200" cap="none" spc="-49" normalizeH="0" baseline="0" noProof="0" err="1">
                <a:ln>
                  <a:noFill/>
                </a:ln>
                <a:solidFill>
                  <a:srgbClr val="3C3C41"/>
                </a:solidFill>
                <a:effectLst/>
                <a:uLnTx/>
                <a:uFillTx/>
                <a:latin typeface="Segoe UI"/>
                <a:ea typeface="+mn-ea"/>
                <a:cs typeface="Segoe UI"/>
              </a:rPr>
              <a:t>rovides</a:t>
            </a:r>
            <a:r>
              <a:rPr kumimoji="0" lang="en-US" sz="2400" b="0" i="0" u="none" strike="noStrike" kern="1200" cap="none" spc="-49" normalizeH="0" baseline="0" noProof="0">
                <a:ln>
                  <a:noFill/>
                </a:ln>
                <a:solidFill>
                  <a:srgbClr val="3C3C41"/>
                </a:solidFill>
                <a:effectLst/>
                <a:uLnTx/>
                <a:uFillTx/>
                <a:latin typeface="Segoe UI"/>
                <a:ea typeface="+mn-ea"/>
                <a:cs typeface="Segoe UI"/>
              </a:rPr>
              <a:t> an interface used to browse items in </a:t>
            </a:r>
            <a:r>
              <a:rPr kumimoji="0" lang="en-US" sz="2400" b="0" i="0" u="none" strike="noStrike" kern="1200" cap="none" spc="-49" normalizeH="0" baseline="0" noProof="0" err="1">
                <a:ln>
                  <a:noFill/>
                </a:ln>
                <a:solidFill>
                  <a:srgbClr val="3C3C41"/>
                </a:solidFill>
                <a:effectLst/>
                <a:uLnTx/>
                <a:uFillTx/>
                <a:latin typeface="Segoe UI"/>
                <a:ea typeface="+mn-ea"/>
                <a:cs typeface="Segoe UI"/>
              </a:rPr>
              <a:t>Dataverse</a:t>
            </a:r>
            <a:r>
              <a:rPr kumimoji="0" lang="en-US" sz="2400" b="0" i="0" u="none" strike="noStrike" kern="1200" cap="none" spc="-49" normalizeH="0" baseline="0" noProof="0">
                <a:ln>
                  <a:noFill/>
                </a:ln>
                <a:solidFill>
                  <a:srgbClr val="3C3C41"/>
                </a:solidFill>
                <a:effectLst/>
                <a:uLnTx/>
                <a:uFillTx/>
                <a:latin typeface="Segoe UI"/>
                <a:ea typeface="+mn-ea"/>
                <a:cs typeface="Segoe UI"/>
              </a:rPr>
              <a:t> custom tables. It provides access to views and forms for the custom tables in the solution.</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kumimoji="0" lang="en-US" sz="1000" b="0" i="0" u="none" strike="noStrike" kern="1200" cap="none" spc="-49" normalizeH="0" baseline="0" noProof="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400" b="0" i="0" u="none" strike="noStrike" kern="1200" cap="none" spc="-49" normalizeH="0" baseline="0" noProof="0">
                <a:ln>
                  <a:noFill/>
                </a:ln>
                <a:solidFill>
                  <a:srgbClr val="3C3C41"/>
                </a:solidFill>
                <a:effectLst/>
                <a:uLnTx/>
                <a:uFillTx/>
                <a:latin typeface="Segoe UI"/>
                <a:ea typeface="+mn-ea"/>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Get a quick overview of resources in your tenant</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Learn about your makers, connectors, apps, and flow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Find out who apps are shared with</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Add additional information, such as notes and risk assessments, to your resource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Set approved capacity for environments, and see capacity and add-on information per environment</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Complete app audits</a:t>
            </a:r>
          </a:p>
          <a:p>
            <a:pPr marL="0" indent="0">
              <a:spcBef>
                <a:spcPts val="0"/>
              </a:spcBef>
              <a:spcAft>
                <a:spcPts val="600"/>
              </a:spcAft>
              <a:buNone/>
            </a:pP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70573"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1600" dirty="0">
                <a:solidFill>
                  <a:schemeClr val="tx2">
                    <a:lumMod val="50000"/>
                  </a:schemeClr>
                </a:solidFill>
                <a:latin typeface="+mn-lt"/>
              </a:rPr>
              <a:t>Model-</a:t>
            </a:r>
            <a:r>
              <a:rPr lang="en-FI" sz="1600" dirty="0">
                <a:solidFill>
                  <a:schemeClr val="tx2">
                    <a:lumMod val="50000"/>
                  </a:schemeClr>
                </a:solidFill>
                <a:latin typeface="+mn-lt"/>
              </a:rPr>
              <a:t>D</a:t>
            </a:r>
            <a:r>
              <a:rPr lang="en-GB" sz="1600" dirty="0">
                <a:solidFill>
                  <a:schemeClr val="tx2">
                    <a:lumMod val="50000"/>
                  </a:schemeClr>
                </a:solidFill>
                <a:latin typeface="+mn-lt"/>
              </a:rPr>
              <a:t>riven App</a:t>
            </a:r>
            <a:endParaRPr lang="LID4096" sz="1600" dirty="0"/>
          </a:p>
        </p:txBody>
      </p:sp>
      <p:pic>
        <p:nvPicPr>
          <p:cNvPr id="6" name="Picture 5">
            <a:extLst>
              <a:ext uri="{FF2B5EF4-FFF2-40B4-BE49-F238E27FC236}">
                <a16:creationId xmlns:a16="http://schemas.microsoft.com/office/drawing/2014/main" id="{16C30956-68F7-4C56-BA86-9CE94DD5A2B9}"/>
              </a:ext>
            </a:extLst>
          </p:cNvPr>
          <p:cNvPicPr>
            <a:picLocks noChangeAspect="1"/>
          </p:cNvPicPr>
          <p:nvPr/>
        </p:nvPicPr>
        <p:blipFill>
          <a:blip r:embed="rId5"/>
          <a:stretch>
            <a:fillRect/>
          </a:stretch>
        </p:blipFill>
        <p:spPr>
          <a:xfrm>
            <a:off x="7449670" y="1408114"/>
            <a:ext cx="4636851" cy="2634684"/>
          </a:xfrm>
          <a:prstGeom prst="rect">
            <a:avLst/>
          </a:prstGeom>
        </p:spPr>
      </p:pic>
      <p:sp>
        <p:nvSpPr>
          <p:cNvPr id="5" name="Footer Placeholder 4">
            <a:extLst>
              <a:ext uri="{FF2B5EF4-FFF2-40B4-BE49-F238E27FC236}">
                <a16:creationId xmlns:a16="http://schemas.microsoft.com/office/drawing/2014/main" id="{C7D192D7-E56C-6A67-392D-86F42CDB603E}"/>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9764567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199" y="3811417"/>
            <a:ext cx="10824029" cy="1538883"/>
          </a:xfrm>
        </p:spPr>
        <p:txBody>
          <a:bodyPr/>
          <a:lstStyle/>
          <a:p>
            <a:pPr>
              <a:lnSpc>
                <a:spcPts val="6000"/>
              </a:lnSpc>
              <a:spcBef>
                <a:spcPts val="0"/>
              </a:spcBef>
            </a:pPr>
            <a:r>
              <a:rPr lang="en-US" sz="5400"/>
              <a:t>Fundamentals of </a:t>
            </a:r>
            <a:br>
              <a:rPr lang="en-FI" sz="5400"/>
            </a:br>
            <a:r>
              <a:rPr lang="en-US" sz="5400"/>
              <a:t>Power Platform governance</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58762289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Compliance </a:t>
            </a:r>
            <a:r>
              <a:rPr lang="en-FI" noProof="1">
                <a:solidFill>
                  <a:srgbClr val="243A5E"/>
                </a:solidFill>
              </a:rPr>
              <a:t>D</a:t>
            </a:r>
            <a:r>
              <a:rPr lang="en-US" noProof="1">
                <a:solidFill>
                  <a:srgbClr val="243A5E"/>
                </a:solidFill>
              </a:rPr>
              <a:t>etail </a:t>
            </a:r>
            <a:r>
              <a:rPr lang="en-FI" noProof="1">
                <a:solidFill>
                  <a:srgbClr val="243A5E"/>
                </a:solidFill>
              </a:rPr>
              <a:t>R</a:t>
            </a:r>
            <a:r>
              <a:rPr lang="en-US" noProof="1">
                <a:solidFill>
                  <a:srgbClr val="243A5E"/>
                </a:solidFill>
              </a:rPr>
              <a:t>equest </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6" y="1408114"/>
            <a:ext cx="7923587"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defTabSz="914192">
              <a:spcBef>
                <a:spcPts val="600"/>
              </a:spcBef>
              <a:buClrTx/>
              <a:buNone/>
              <a:defRPr/>
            </a:pPr>
            <a:r>
              <a:rPr lang="en-FI" sz="1800" spc="-49">
                <a:solidFill>
                  <a:srgbClr val="3C3C41"/>
                </a:solidFill>
                <a:latin typeface="Segoe UI"/>
                <a:cs typeface="Segoe UI"/>
              </a:rPr>
              <a:t>Automatically initiated for Canvas Apps and Chatbots when </a:t>
            </a:r>
            <a:r>
              <a:rPr lang="fr-FR" sz="1800" u="sng" spc="-49">
                <a:solidFill>
                  <a:srgbClr val="3C3C41"/>
                </a:solidFill>
                <a:latin typeface="Segoe UI"/>
                <a:cs typeface="Segoe UI"/>
              </a:rPr>
              <a:t>Admin | Compliance </a:t>
            </a:r>
            <a:r>
              <a:rPr lang="fr-FR" sz="1800" u="sng" spc="-49" err="1">
                <a:solidFill>
                  <a:srgbClr val="3C3C41"/>
                </a:solidFill>
                <a:latin typeface="Segoe UI"/>
                <a:cs typeface="Segoe UI"/>
              </a:rPr>
              <a:t>detail</a:t>
            </a:r>
            <a:r>
              <a:rPr lang="fr-FR" sz="1800" u="sng" spc="-49">
                <a:solidFill>
                  <a:srgbClr val="3C3C41"/>
                </a:solidFill>
                <a:latin typeface="Segoe UI"/>
                <a:cs typeface="Segoe UI"/>
              </a:rPr>
              <a:t> </a:t>
            </a:r>
            <a:r>
              <a:rPr lang="fr-FR" sz="1800" u="sng" spc="-49" err="1">
                <a:solidFill>
                  <a:srgbClr val="3C3C41"/>
                </a:solidFill>
                <a:latin typeface="Segoe UI"/>
                <a:cs typeface="Segoe UI"/>
              </a:rPr>
              <a:t>request</a:t>
            </a:r>
            <a:r>
              <a:rPr lang="fr-FR" sz="1800" u="sng" spc="-49">
                <a:solidFill>
                  <a:srgbClr val="3C3C41"/>
                </a:solidFill>
                <a:latin typeface="Segoe UI"/>
                <a:cs typeface="Segoe UI"/>
              </a:rPr>
              <a:t> v3</a:t>
            </a:r>
            <a:r>
              <a:rPr lang="en-FI" sz="1800" spc="-49">
                <a:solidFill>
                  <a:srgbClr val="3C3C41"/>
                </a:solidFill>
                <a:latin typeface="Segoe UI"/>
                <a:cs typeface="Segoe UI"/>
              </a:rPr>
              <a:t> flow is enabled. Thresholds of the following rules are configurable using environment variables</a:t>
            </a:r>
          </a:p>
          <a:p>
            <a:pPr marL="0" indent="0" defTabSz="914192">
              <a:spcBef>
                <a:spcPts val="600"/>
              </a:spcBef>
              <a:buClrTx/>
              <a:buNone/>
              <a:defRPr/>
            </a:pPr>
            <a:r>
              <a:rPr lang="en-FI" sz="1600" b="1" spc="-49">
                <a:solidFill>
                  <a:srgbClr val="3C3C41"/>
                </a:solidFill>
                <a:latin typeface="Segoe UI"/>
                <a:cs typeface="Segoe UI"/>
              </a:rPr>
              <a:t>Canvas Apps:</a:t>
            </a:r>
          </a:p>
          <a:p>
            <a:pPr algn="l">
              <a:buFont typeface="Arial" panose="020B0604020202020204" pitchFamily="34" charset="0"/>
              <a:buChar char="•"/>
            </a:pPr>
            <a:r>
              <a:rPr lang="en-FI" sz="1600">
                <a:solidFill>
                  <a:srgbClr val="171717"/>
                </a:solidFill>
                <a:latin typeface="Segoe UI" panose="020B0502040204020203" pitchFamily="34" charset="0"/>
              </a:rPr>
              <a:t>S</a:t>
            </a:r>
            <a:r>
              <a:rPr lang="en-US" sz="1600" b="0" i="0">
                <a:solidFill>
                  <a:srgbClr val="171717"/>
                </a:solidFill>
                <a:effectLst/>
                <a:latin typeface="Segoe UI" panose="020B0502040204020203" pitchFamily="34" charset="0"/>
              </a:rPr>
              <a:t>hared </a:t>
            </a:r>
            <a:r>
              <a:rPr lang="en-FI" sz="1600" b="0" i="0">
                <a:solidFill>
                  <a:srgbClr val="171717"/>
                </a:solidFill>
                <a:effectLst/>
                <a:latin typeface="Segoe UI" panose="020B0502040204020203" pitchFamily="34" charset="0"/>
              </a:rPr>
              <a:t>&gt; </a:t>
            </a:r>
            <a:r>
              <a:rPr lang="en-US" sz="1600" b="0" i="0">
                <a:solidFill>
                  <a:srgbClr val="171717"/>
                </a:solidFill>
                <a:effectLst/>
                <a:latin typeface="Segoe UI" panose="020B0502040204020203" pitchFamily="34" charset="0"/>
              </a:rPr>
              <a:t>20 users or </a:t>
            </a:r>
            <a:r>
              <a:rPr lang="en-FI" sz="1600" b="0" i="0">
                <a:solidFill>
                  <a:srgbClr val="171717"/>
                </a:solidFill>
                <a:effectLst/>
                <a:latin typeface="Segoe UI" panose="020B0502040204020203" pitchFamily="34" charset="0"/>
              </a:rPr>
              <a:t>&gt; 1 </a:t>
            </a:r>
            <a:r>
              <a:rPr lang="en-US" sz="1600" b="0" i="0">
                <a:solidFill>
                  <a:srgbClr val="171717"/>
                </a:solidFill>
                <a:effectLst/>
                <a:latin typeface="Segoe UI" panose="020B0502040204020203" pitchFamily="34" charset="0"/>
              </a:rPr>
              <a:t>group, no business justification details provided.</a:t>
            </a:r>
          </a:p>
          <a:p>
            <a:pPr algn="l">
              <a:buFont typeface="Arial" panose="020B0604020202020204" pitchFamily="34" charset="0"/>
              <a:buChar char="•"/>
            </a:pPr>
            <a:r>
              <a:rPr lang="en-FI" sz="1600" b="0" i="0">
                <a:solidFill>
                  <a:srgbClr val="171717"/>
                </a:solidFill>
                <a:effectLst/>
                <a:latin typeface="Segoe UI" panose="020B0502040204020203" pitchFamily="34" charset="0"/>
              </a:rPr>
              <a:t>B</a:t>
            </a:r>
            <a:r>
              <a:rPr lang="en-US" sz="1600" b="0" i="0" err="1">
                <a:solidFill>
                  <a:srgbClr val="171717"/>
                </a:solidFill>
                <a:effectLst/>
                <a:latin typeface="Segoe UI" panose="020B0502040204020203" pitchFamily="34" charset="0"/>
              </a:rPr>
              <a:t>usiness</a:t>
            </a:r>
            <a:r>
              <a:rPr lang="en-US" sz="1600" b="0" i="0">
                <a:solidFill>
                  <a:srgbClr val="171717"/>
                </a:solidFill>
                <a:effectLst/>
                <a:latin typeface="Segoe UI" panose="020B0502040204020203" pitchFamily="34" charset="0"/>
              </a:rPr>
              <a:t> justification </a:t>
            </a:r>
            <a:r>
              <a:rPr lang="en-FI" sz="1600" b="0" i="0">
                <a:solidFill>
                  <a:srgbClr val="171717"/>
                </a:solidFill>
                <a:effectLst/>
                <a:latin typeface="Segoe UI" panose="020B0502040204020203" pitchFamily="34" charset="0"/>
              </a:rPr>
              <a:t>provided </a:t>
            </a:r>
            <a:r>
              <a:rPr lang="en-US" sz="1600" b="0" i="0">
                <a:solidFill>
                  <a:srgbClr val="171717"/>
                </a:solidFill>
                <a:effectLst/>
                <a:latin typeface="Segoe UI" panose="020B0502040204020203" pitchFamily="34" charset="0"/>
              </a:rPr>
              <a:t>but </a:t>
            </a:r>
            <a:r>
              <a:rPr lang="en-FI" sz="1600" b="0" i="0">
                <a:solidFill>
                  <a:srgbClr val="171717"/>
                </a:solidFill>
                <a:effectLst/>
                <a:latin typeface="Segoe UI" panose="020B0502040204020203" pitchFamily="34" charset="0"/>
              </a:rPr>
              <a:t>not </a:t>
            </a:r>
            <a:r>
              <a:rPr lang="en-US" sz="1600" b="0" i="0">
                <a:solidFill>
                  <a:srgbClr val="171717"/>
                </a:solidFill>
                <a:effectLst/>
                <a:latin typeface="Segoe UI" panose="020B0502040204020203" pitchFamily="34" charset="0"/>
              </a:rPr>
              <a:t>published </a:t>
            </a:r>
            <a:r>
              <a:rPr lang="en-FI" sz="1600" b="0" i="0">
                <a:solidFill>
                  <a:srgbClr val="171717"/>
                </a:solidFill>
                <a:effectLst/>
                <a:latin typeface="Segoe UI" panose="020B0502040204020203" pitchFamily="34" charset="0"/>
              </a:rPr>
              <a:t>since </a:t>
            </a:r>
            <a:r>
              <a:rPr lang="en-US" sz="1600" b="0" i="0">
                <a:solidFill>
                  <a:srgbClr val="171717"/>
                </a:solidFill>
                <a:effectLst/>
                <a:latin typeface="Segoe UI" panose="020B0502040204020203" pitchFamily="34" charset="0"/>
              </a:rPr>
              <a:t>60 days</a:t>
            </a:r>
            <a:r>
              <a:rPr lang="en-FI" sz="1600" b="0" i="0">
                <a:solidFill>
                  <a:srgbClr val="171717"/>
                </a:solidFill>
                <a:effectLst/>
                <a:latin typeface="Segoe UI" panose="020B0502040204020203" pitchFamily="34" charset="0"/>
              </a:rPr>
              <a:t> (sends email notification to owner)</a:t>
            </a:r>
            <a:endParaRPr lang="en-US" sz="1600" b="0" i="0">
              <a:solidFill>
                <a:srgbClr val="171717"/>
              </a:solidFill>
              <a:effectLst/>
              <a:latin typeface="Segoe UI" panose="020B0502040204020203" pitchFamily="34" charset="0"/>
            </a:endParaRPr>
          </a:p>
          <a:p>
            <a:pPr algn="l">
              <a:buFont typeface="Arial" panose="020B0604020202020204" pitchFamily="34" charset="0"/>
              <a:buChar char="•"/>
            </a:pPr>
            <a:r>
              <a:rPr lang="en-FI" sz="1600">
                <a:solidFill>
                  <a:srgbClr val="171717"/>
                </a:solidFill>
                <a:latin typeface="Segoe UI" panose="020B0502040204020203" pitchFamily="34" charset="0"/>
              </a:rPr>
              <a:t>B</a:t>
            </a:r>
            <a:r>
              <a:rPr lang="en-US" sz="1600" b="0" i="0" err="1">
                <a:solidFill>
                  <a:srgbClr val="171717"/>
                </a:solidFill>
                <a:effectLst/>
                <a:latin typeface="Segoe UI" panose="020B0502040204020203" pitchFamily="34" charset="0"/>
              </a:rPr>
              <a:t>usiness</a:t>
            </a:r>
            <a:r>
              <a:rPr lang="en-US" sz="1600" b="0" i="0">
                <a:solidFill>
                  <a:srgbClr val="171717"/>
                </a:solidFill>
                <a:effectLst/>
                <a:latin typeface="Segoe UI" panose="020B0502040204020203" pitchFamily="34" charset="0"/>
              </a:rPr>
              <a:t> justification </a:t>
            </a:r>
            <a:r>
              <a:rPr lang="en-FI" sz="1600" b="0" i="0">
                <a:solidFill>
                  <a:srgbClr val="171717"/>
                </a:solidFill>
                <a:effectLst/>
                <a:latin typeface="Segoe UI" panose="020B0502040204020203" pitchFamily="34" charset="0"/>
              </a:rPr>
              <a:t>provided</a:t>
            </a:r>
            <a:r>
              <a:rPr lang="en-US" sz="1600" b="0" i="0">
                <a:solidFill>
                  <a:srgbClr val="171717"/>
                </a:solidFill>
                <a:effectLst/>
                <a:latin typeface="Segoe UI" panose="020B0502040204020203" pitchFamily="34" charset="0"/>
              </a:rPr>
              <a:t> </a:t>
            </a:r>
            <a:r>
              <a:rPr lang="en-FI" sz="1600" b="0" i="0">
                <a:solidFill>
                  <a:srgbClr val="171717"/>
                </a:solidFill>
                <a:effectLst/>
                <a:latin typeface="Segoe UI" panose="020B0502040204020203" pitchFamily="34" charset="0"/>
              </a:rPr>
              <a:t>and an</a:t>
            </a:r>
            <a:r>
              <a:rPr lang="en-US" sz="1600" b="0" i="0">
                <a:solidFill>
                  <a:srgbClr val="171717"/>
                </a:solidFill>
                <a:effectLst/>
                <a:latin typeface="Segoe UI" panose="020B0502040204020203" pitchFamily="34" charset="0"/>
              </a:rPr>
              <a:t> indication of </a:t>
            </a:r>
            <a:r>
              <a:rPr lang="en-US" sz="1600" b="0" i="0" u="sng">
                <a:solidFill>
                  <a:srgbClr val="171717"/>
                </a:solidFill>
                <a:effectLst/>
                <a:latin typeface="Segoe UI" panose="020B0502040204020203" pitchFamily="34" charset="0"/>
              </a:rPr>
              <a:t>high business impact</a:t>
            </a:r>
            <a:r>
              <a:rPr lang="en-US" sz="1600" b="0" i="0">
                <a:solidFill>
                  <a:srgbClr val="171717"/>
                </a:solidFill>
                <a:effectLst/>
                <a:latin typeface="Segoe UI" panose="020B0502040204020203" pitchFamily="34" charset="0"/>
              </a:rPr>
              <a:t>, but no mitigation plan </a:t>
            </a:r>
            <a:r>
              <a:rPr lang="en-FI" sz="1600" b="0" i="0">
                <a:solidFill>
                  <a:srgbClr val="171717"/>
                </a:solidFill>
                <a:effectLst/>
                <a:latin typeface="Segoe UI" panose="020B0502040204020203" pitchFamily="34" charset="0"/>
              </a:rPr>
              <a:t>attached</a:t>
            </a:r>
            <a:r>
              <a:rPr lang="en-US" sz="1600" b="0" i="0">
                <a:solidFill>
                  <a:srgbClr val="171717"/>
                </a:solidFill>
                <a:effectLst/>
                <a:latin typeface="Segoe UI" panose="020B0502040204020203" pitchFamily="34" charset="0"/>
              </a:rPr>
              <a:t>.</a:t>
            </a:r>
          </a:p>
          <a:p>
            <a:pPr marL="0" indent="0" algn="l">
              <a:buNone/>
            </a:pPr>
            <a:r>
              <a:rPr lang="en-FI" sz="1600" b="1">
                <a:solidFill>
                  <a:srgbClr val="171717"/>
                </a:solidFill>
                <a:latin typeface="Segoe UI" panose="020B0502040204020203" pitchFamily="34" charset="0"/>
              </a:rPr>
              <a:t>Chatbots:</a:t>
            </a:r>
          </a:p>
          <a:p>
            <a:pPr algn="l">
              <a:buFont typeface="Arial" panose="020B0604020202020204" pitchFamily="34" charset="0"/>
              <a:buChar char="•"/>
            </a:pPr>
            <a:r>
              <a:rPr lang="en-FI" sz="1600" b="0" i="0">
                <a:solidFill>
                  <a:srgbClr val="171717"/>
                </a:solidFill>
                <a:effectLst/>
                <a:latin typeface="Segoe UI" panose="020B0502040204020203" pitchFamily="34" charset="0"/>
              </a:rPr>
              <a:t>L</a:t>
            </a:r>
            <a:r>
              <a:rPr lang="en-US" sz="1600" b="0" i="0" err="1">
                <a:solidFill>
                  <a:srgbClr val="171717"/>
                </a:solidFill>
                <a:effectLst/>
                <a:latin typeface="Segoe UI" panose="020B0502040204020203" pitchFamily="34" charset="0"/>
              </a:rPr>
              <a:t>aunched</a:t>
            </a:r>
            <a:r>
              <a:rPr lang="en-FI" sz="1600" b="0" i="0">
                <a:solidFill>
                  <a:srgbClr val="171717"/>
                </a:solidFill>
                <a:effectLst/>
                <a:latin typeface="Segoe UI" panose="020B0502040204020203" pitchFamily="34" charset="0"/>
              </a:rPr>
              <a:t> &gt; </a:t>
            </a:r>
            <a:r>
              <a:rPr lang="en-US" sz="1600" b="0" i="0">
                <a:solidFill>
                  <a:srgbClr val="171717"/>
                </a:solidFill>
                <a:effectLst/>
                <a:latin typeface="Segoe UI" panose="020B0502040204020203" pitchFamily="34" charset="0"/>
              </a:rPr>
              <a:t>50 times and no business justification details have been provided for it.</a:t>
            </a:r>
          </a:p>
          <a:p>
            <a:pPr algn="l">
              <a:buFont typeface="Arial" panose="020B0604020202020204" pitchFamily="34" charset="0"/>
              <a:buChar char="•"/>
            </a:pPr>
            <a:r>
              <a:rPr lang="en-FI" sz="1600" b="0" i="0">
                <a:solidFill>
                  <a:srgbClr val="171717"/>
                </a:solidFill>
                <a:effectLst/>
                <a:latin typeface="Segoe UI" panose="020B0502040204020203" pitchFamily="34" charset="0"/>
              </a:rPr>
              <a:t>Business </a:t>
            </a:r>
            <a:r>
              <a:rPr lang="en-US" sz="1600" b="0" i="0">
                <a:solidFill>
                  <a:srgbClr val="171717"/>
                </a:solidFill>
                <a:effectLst/>
                <a:latin typeface="Segoe UI" panose="020B0502040204020203" pitchFamily="34" charset="0"/>
              </a:rPr>
              <a:t>justification details</a:t>
            </a:r>
            <a:r>
              <a:rPr lang="en-FI" sz="1600" b="0" i="0">
                <a:solidFill>
                  <a:srgbClr val="171717"/>
                </a:solidFill>
                <a:effectLst/>
                <a:latin typeface="Segoe UI" panose="020B0502040204020203" pitchFamily="34" charset="0"/>
              </a:rPr>
              <a:t> provided</a:t>
            </a:r>
            <a:r>
              <a:rPr lang="en-US" sz="1600" b="0" i="0">
                <a:solidFill>
                  <a:srgbClr val="171717"/>
                </a:solidFill>
                <a:effectLst/>
                <a:latin typeface="Segoe UI" panose="020B0502040204020203" pitchFamily="34" charset="0"/>
              </a:rPr>
              <a:t> and an indication of </a:t>
            </a:r>
            <a:r>
              <a:rPr lang="en-US" sz="1600" b="0" i="0" u="sng">
                <a:solidFill>
                  <a:srgbClr val="171717"/>
                </a:solidFill>
                <a:effectLst/>
                <a:latin typeface="Segoe UI" panose="020B0502040204020203" pitchFamily="34" charset="0"/>
              </a:rPr>
              <a:t>high business impact</a:t>
            </a:r>
            <a:r>
              <a:rPr lang="en-US" sz="1600" b="0" i="0">
                <a:solidFill>
                  <a:srgbClr val="171717"/>
                </a:solidFill>
                <a:effectLst/>
                <a:latin typeface="Segoe UI" panose="020B0502040204020203" pitchFamily="34" charset="0"/>
              </a:rPr>
              <a:t>, but no mitigation plan </a:t>
            </a:r>
            <a:r>
              <a:rPr lang="en-FI" sz="1600" b="0" i="0">
                <a:solidFill>
                  <a:srgbClr val="171717"/>
                </a:solidFill>
                <a:effectLst/>
                <a:latin typeface="Segoe UI" panose="020B0502040204020203" pitchFamily="34" charset="0"/>
              </a:rPr>
              <a:t>attached</a:t>
            </a:r>
            <a:endParaRPr lang="en-US" sz="1600" b="0" i="0">
              <a:solidFill>
                <a:srgbClr val="171717"/>
              </a:solidFill>
              <a:effectLst/>
              <a:latin typeface="Segoe UI" panose="020B0502040204020203" pitchFamily="34" charset="0"/>
            </a:endParaRPr>
          </a:p>
          <a:p>
            <a:pPr marL="0" indent="0" defTabSz="914192">
              <a:spcBef>
                <a:spcPts val="600"/>
              </a:spcBef>
              <a:buClrTx/>
              <a:buNone/>
              <a:defRPr/>
            </a:pPr>
            <a:endParaRPr kumimoji="0" lang="en-FI" sz="1200" b="0" i="0" u="none" strike="noStrike" kern="1200" cap="none" spc="-49" normalizeH="0" baseline="0" noProof="0">
              <a:ln>
                <a:noFill/>
              </a:ln>
              <a:solidFill>
                <a:srgbClr val="3C3C41"/>
              </a:solidFill>
              <a:effectLst/>
              <a:uLnTx/>
              <a:uFillTx/>
              <a:latin typeface="Segoe UI"/>
              <a:ea typeface="+mn-ea"/>
              <a:cs typeface="Segoe UI"/>
            </a:endParaRPr>
          </a:p>
          <a:p>
            <a:pPr marL="0" indent="0" defTabSz="914192">
              <a:spcBef>
                <a:spcPts val="600"/>
              </a:spcBef>
              <a:buClrTx/>
              <a:buNone/>
              <a:defRPr/>
            </a:pPr>
            <a:r>
              <a:rPr kumimoji="0" lang="en-FI" sz="1800" b="0" i="0" u="none" strike="noStrike" kern="1200" cap="none" spc="-49" normalizeH="0" baseline="0" noProof="0">
                <a:ln>
                  <a:noFill/>
                </a:ln>
                <a:solidFill>
                  <a:srgbClr val="3C3C41"/>
                </a:solidFill>
                <a:effectLst/>
                <a:uLnTx/>
                <a:uFillTx/>
                <a:latin typeface="Segoe UI"/>
                <a:ea typeface="+mn-ea"/>
                <a:cs typeface="Segoe UI"/>
              </a:rPr>
              <a:t>Starts Approval BPF for PowerApps and Chatbots if Risk Assessment State is None or Requested (by admin)</a:t>
            </a: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81206"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FI" sz="1600">
                <a:solidFill>
                  <a:schemeClr val="tx2">
                    <a:lumMod val="50000"/>
                  </a:schemeClr>
                </a:solidFill>
                <a:latin typeface="+mn-lt"/>
              </a:rPr>
              <a:t>Cloud Flow</a:t>
            </a:r>
            <a:endParaRPr lang="LID4096" sz="1600"/>
          </a:p>
        </p:txBody>
      </p:sp>
      <p:pic>
        <p:nvPicPr>
          <p:cNvPr id="7" name="Picture 6">
            <a:extLst>
              <a:ext uri="{FF2B5EF4-FFF2-40B4-BE49-F238E27FC236}">
                <a16:creationId xmlns:a16="http://schemas.microsoft.com/office/drawing/2014/main" id="{BC4419E5-E7AC-0E0E-22B6-14F2BCD05E87}"/>
              </a:ext>
            </a:extLst>
          </p:cNvPr>
          <p:cNvPicPr>
            <a:picLocks noChangeAspect="1"/>
          </p:cNvPicPr>
          <p:nvPr/>
        </p:nvPicPr>
        <p:blipFill>
          <a:blip r:embed="rId5"/>
          <a:stretch>
            <a:fillRect/>
          </a:stretch>
        </p:blipFill>
        <p:spPr>
          <a:xfrm>
            <a:off x="9090612" y="675918"/>
            <a:ext cx="2899444" cy="2988052"/>
          </a:xfrm>
          <a:prstGeom prst="rect">
            <a:avLst/>
          </a:prstGeom>
        </p:spPr>
      </p:pic>
      <p:sp>
        <p:nvSpPr>
          <p:cNvPr id="11" name="TextBox 10">
            <a:extLst>
              <a:ext uri="{FF2B5EF4-FFF2-40B4-BE49-F238E27FC236}">
                <a16:creationId xmlns:a16="http://schemas.microsoft.com/office/drawing/2014/main" id="{5F6DD6EB-07E6-015D-CCA9-CBE82F14C703}"/>
              </a:ext>
            </a:extLst>
          </p:cNvPr>
          <p:cNvSpPr txBox="1"/>
          <p:nvPr/>
        </p:nvSpPr>
        <p:spPr>
          <a:xfrm>
            <a:off x="448835" y="6353294"/>
            <a:ext cx="11636668" cy="369332"/>
          </a:xfrm>
          <a:prstGeom prst="rect">
            <a:avLst/>
          </a:prstGeom>
          <a:noFill/>
        </p:spPr>
        <p:txBody>
          <a:bodyPr wrap="square">
            <a:spAutoFit/>
          </a:bodyPr>
          <a:lstStyle/>
          <a:p>
            <a:pPr marL="0" marR="0" lvl="0" indent="0" algn="l" defTabSz="914192" rtl="0" eaLnBrk="1" fontAlgn="auto" latinLnBrk="0" hangingPunct="1">
              <a:lnSpc>
                <a:spcPct val="100000"/>
              </a:lnSpc>
              <a:spcBef>
                <a:spcPts val="600"/>
              </a:spcBef>
              <a:buClrTx/>
              <a:buSzPct val="90000"/>
              <a:buNone/>
              <a:tabLst/>
              <a:defRPr/>
            </a:pPr>
            <a:r>
              <a:rPr lang="en-FI" sz="1800" u="sng" spc="-49">
                <a:solidFill>
                  <a:srgbClr val="3C3C41"/>
                </a:solidFill>
                <a:latin typeface="Segoe UI"/>
                <a:cs typeface="Segoe UI"/>
              </a:rPr>
              <a:t>NOTE, These features requires CoE Governance component to be deployed and configured in your environment</a:t>
            </a:r>
            <a:endParaRPr lang="en-US" sz="1600" u="sng"/>
          </a:p>
        </p:txBody>
      </p:sp>
      <p:pic>
        <p:nvPicPr>
          <p:cNvPr id="18" name="Picture 17">
            <a:extLst>
              <a:ext uri="{FF2B5EF4-FFF2-40B4-BE49-F238E27FC236}">
                <a16:creationId xmlns:a16="http://schemas.microsoft.com/office/drawing/2014/main" id="{18DC00BF-1B68-C9DD-FD36-0ECF4E1B3DE6}"/>
              </a:ext>
            </a:extLst>
          </p:cNvPr>
          <p:cNvPicPr>
            <a:picLocks noChangeAspect="1"/>
          </p:cNvPicPr>
          <p:nvPr/>
        </p:nvPicPr>
        <p:blipFill>
          <a:blip r:embed="rId6"/>
          <a:stretch>
            <a:fillRect/>
          </a:stretch>
        </p:blipFill>
        <p:spPr>
          <a:xfrm>
            <a:off x="8731624" y="3726735"/>
            <a:ext cx="3460376" cy="1945084"/>
          </a:xfrm>
          <a:prstGeom prst="rect">
            <a:avLst/>
          </a:prstGeom>
        </p:spPr>
      </p:pic>
    </p:spTree>
    <p:custDataLst>
      <p:tags r:id="rId1"/>
    </p:custDataLst>
    <p:extLst>
      <p:ext uri="{BB962C8B-B14F-4D97-AF65-F5344CB8AC3E}">
        <p14:creationId xmlns:p14="http://schemas.microsoft.com/office/powerpoint/2010/main" val="321065863"/>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Compliance </a:t>
            </a:r>
            <a:r>
              <a:rPr lang="en-FI" noProof="1">
                <a:solidFill>
                  <a:srgbClr val="243A5E"/>
                </a:solidFill>
              </a:rPr>
              <a:t>D</a:t>
            </a:r>
            <a:r>
              <a:rPr lang="en-US" noProof="1">
                <a:solidFill>
                  <a:srgbClr val="243A5E"/>
                </a:solidFill>
              </a:rPr>
              <a:t>etail </a:t>
            </a:r>
            <a:r>
              <a:rPr lang="en-FI" noProof="1">
                <a:solidFill>
                  <a:srgbClr val="243A5E"/>
                </a:solidFill>
              </a:rPr>
              <a:t>R</a:t>
            </a:r>
            <a:r>
              <a:rPr lang="en-US" noProof="1">
                <a:solidFill>
                  <a:srgbClr val="243A5E"/>
                </a:solidFill>
              </a:rPr>
              <a:t>equest</a:t>
            </a:r>
            <a:r>
              <a:rPr lang="en-FI" noProof="1">
                <a:solidFill>
                  <a:srgbClr val="243A5E"/>
                </a:solidFill>
              </a:rPr>
              <a:t> – Initiated by Admin </a:t>
            </a:r>
            <a:r>
              <a:rPr lang="en-US" noProof="1">
                <a:solidFill>
                  <a:srgbClr val="243A5E"/>
                </a:solidFill>
              </a:rPr>
              <a:t> </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7" y="1408114"/>
            <a:ext cx="7672576"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defTabSz="914192">
              <a:spcBef>
                <a:spcPts val="600"/>
              </a:spcBef>
              <a:buClrTx/>
              <a:buNone/>
              <a:defRPr/>
            </a:pPr>
            <a:r>
              <a:rPr kumimoji="0" lang="en-FI" b="0" i="0" u="none" strike="noStrike" kern="1200" cap="none" spc="-49" normalizeH="0" baseline="0" noProof="0">
                <a:ln>
                  <a:noFill/>
                </a:ln>
                <a:solidFill>
                  <a:srgbClr val="3C3C41"/>
                </a:solidFill>
                <a:effectLst/>
                <a:uLnTx/>
                <a:uFillTx/>
                <a:latin typeface="Segoe UI"/>
                <a:ea typeface="+mn-ea"/>
                <a:cs typeface="Segoe UI"/>
              </a:rPr>
              <a:t>Admins can manually request compliance details update for following resources</a:t>
            </a:r>
          </a:p>
          <a:p>
            <a:pPr defTabSz="914192">
              <a:spcBef>
                <a:spcPts val="600"/>
              </a:spcBef>
              <a:buClrTx/>
              <a:defRPr/>
            </a:pPr>
            <a:r>
              <a:rPr kumimoji="0" lang="en-FI" sz="2000" b="0" i="0" u="none" strike="noStrike" kern="1200" cap="none" spc="-49" normalizeH="0" baseline="0" noProof="0">
                <a:ln>
                  <a:noFill/>
                </a:ln>
                <a:solidFill>
                  <a:srgbClr val="3C3C41"/>
                </a:solidFill>
                <a:effectLst/>
                <a:uLnTx/>
                <a:uFillTx/>
                <a:latin typeface="Segoe UI"/>
                <a:ea typeface="+mn-ea"/>
                <a:cs typeface="Segoe UI"/>
              </a:rPr>
              <a:t>Canvas Apps</a:t>
            </a:r>
          </a:p>
          <a:p>
            <a:pPr defTabSz="914192">
              <a:spcBef>
                <a:spcPts val="600"/>
              </a:spcBef>
              <a:buClrTx/>
              <a:defRPr/>
            </a:pPr>
            <a:r>
              <a:rPr lang="en-FI" sz="2000" spc="-49">
                <a:solidFill>
                  <a:srgbClr val="3C3C41"/>
                </a:solidFill>
                <a:latin typeface="Segoe UI"/>
                <a:cs typeface="Segoe UI"/>
              </a:rPr>
              <a:t>Chatbots</a:t>
            </a:r>
          </a:p>
          <a:p>
            <a:pPr defTabSz="914192">
              <a:spcBef>
                <a:spcPts val="600"/>
              </a:spcBef>
              <a:buClrTx/>
              <a:defRPr/>
            </a:pPr>
            <a:r>
              <a:rPr kumimoji="0" lang="en-FI" sz="2000" b="0" i="0" u="none" strike="noStrike" kern="1200" cap="none" spc="-49" normalizeH="0" baseline="0" noProof="0">
                <a:ln>
                  <a:noFill/>
                </a:ln>
                <a:solidFill>
                  <a:srgbClr val="3C3C41"/>
                </a:solidFill>
                <a:effectLst/>
                <a:uLnTx/>
                <a:uFillTx/>
                <a:latin typeface="Segoe UI"/>
                <a:ea typeface="+mn-ea"/>
                <a:cs typeface="Segoe UI"/>
              </a:rPr>
              <a:t>Flows</a:t>
            </a:r>
          </a:p>
          <a:p>
            <a:pPr defTabSz="914192">
              <a:spcBef>
                <a:spcPts val="600"/>
              </a:spcBef>
              <a:buClrTx/>
              <a:defRPr/>
            </a:pPr>
            <a:r>
              <a:rPr kumimoji="0" lang="en-FI" sz="2000" b="0" i="0" u="none" strike="noStrike" kern="1200" cap="none" spc="-49" normalizeH="0" baseline="0" noProof="0">
                <a:ln>
                  <a:noFill/>
                </a:ln>
                <a:solidFill>
                  <a:srgbClr val="3C3C41"/>
                </a:solidFill>
                <a:effectLst/>
                <a:uLnTx/>
                <a:uFillTx/>
                <a:latin typeface="Segoe UI"/>
                <a:ea typeface="+mn-ea"/>
                <a:cs typeface="Segoe UI"/>
              </a:rPr>
              <a:t>Desktop Flows</a:t>
            </a:r>
          </a:p>
          <a:p>
            <a:pPr defTabSz="914192">
              <a:spcBef>
                <a:spcPts val="600"/>
              </a:spcBef>
              <a:buClrTx/>
              <a:defRPr/>
            </a:pPr>
            <a:r>
              <a:rPr kumimoji="0" lang="en-FI" sz="2000" b="0" i="0" u="none" strike="noStrike" kern="1200" cap="none" spc="-49" normalizeH="0" baseline="0" noProof="0">
                <a:ln>
                  <a:noFill/>
                </a:ln>
                <a:solidFill>
                  <a:srgbClr val="3C3C41"/>
                </a:solidFill>
                <a:effectLst/>
                <a:uLnTx/>
                <a:uFillTx/>
                <a:latin typeface="Segoe UI"/>
                <a:ea typeface="+mn-ea"/>
                <a:cs typeface="Segoe UI"/>
              </a:rPr>
              <a:t>Custom Connectors</a:t>
            </a:r>
          </a:p>
          <a:p>
            <a:pPr marL="0" indent="0" defTabSz="914192">
              <a:spcBef>
                <a:spcPts val="600"/>
              </a:spcBef>
              <a:buClrTx/>
              <a:buNone/>
              <a:defRPr/>
            </a:pPr>
            <a:endParaRPr kumimoji="0" lang="en-FI" sz="2000" b="0" i="0" u="none" strike="noStrike" kern="1200" cap="none" spc="-49" normalizeH="0" baseline="0" noProof="0">
              <a:ln>
                <a:noFill/>
              </a:ln>
              <a:solidFill>
                <a:srgbClr val="3C3C41"/>
              </a:solidFill>
              <a:effectLst/>
              <a:uLnTx/>
              <a:uFillTx/>
              <a:latin typeface="Segoe UI"/>
              <a:ea typeface="+mn-ea"/>
              <a:cs typeface="Segoe UI"/>
            </a:endParaRPr>
          </a:p>
          <a:p>
            <a:pPr marL="0" indent="0" defTabSz="914192">
              <a:spcBef>
                <a:spcPts val="600"/>
              </a:spcBef>
              <a:buClrTx/>
              <a:buNone/>
              <a:defRPr/>
            </a:pPr>
            <a:r>
              <a:rPr kumimoji="0" lang="en-US" b="0" i="0" u="none" strike="noStrike" kern="1200" cap="none" spc="-49" normalizeH="0" baseline="0" noProof="0">
                <a:ln>
                  <a:noFill/>
                </a:ln>
                <a:solidFill>
                  <a:srgbClr val="3C3C41"/>
                </a:solidFill>
                <a:effectLst/>
                <a:uLnTx/>
                <a:uFillTx/>
                <a:latin typeface="Segoe UI"/>
                <a:ea typeface="+mn-ea"/>
                <a:cs typeface="Segoe UI"/>
              </a:rPr>
              <a:t>Send</a:t>
            </a:r>
            <a:r>
              <a:rPr kumimoji="0" lang="en-FI" b="0" i="0" u="none" strike="noStrike" kern="1200" cap="none" spc="-49" normalizeH="0" baseline="0" noProof="0">
                <a:ln>
                  <a:noFill/>
                </a:ln>
                <a:solidFill>
                  <a:srgbClr val="3C3C41"/>
                </a:solidFill>
                <a:effectLst/>
                <a:uLnTx/>
                <a:uFillTx/>
                <a:latin typeface="Segoe UI"/>
                <a:ea typeface="+mn-ea"/>
                <a:cs typeface="Segoe UI"/>
              </a:rPr>
              <a:t>s</a:t>
            </a:r>
            <a:r>
              <a:rPr kumimoji="0" lang="en-US" b="0" i="0" u="none" strike="noStrike" kern="1200" cap="none" spc="-49" normalizeH="0" baseline="0" noProof="0">
                <a:ln>
                  <a:noFill/>
                </a:ln>
                <a:solidFill>
                  <a:srgbClr val="3C3C41"/>
                </a:solidFill>
                <a:effectLst/>
                <a:uLnTx/>
                <a:uFillTx/>
                <a:latin typeface="Segoe UI"/>
                <a:ea typeface="+mn-ea"/>
                <a:cs typeface="Segoe UI"/>
              </a:rPr>
              <a:t> compliance related emails to users when Admin Risk Assessment </a:t>
            </a:r>
            <a:r>
              <a:rPr kumimoji="0" lang="en-FI" b="0" i="0" u="none" strike="noStrike" kern="1200" cap="none" spc="-49" normalizeH="0" baseline="0" noProof="0">
                <a:ln>
                  <a:noFill/>
                </a:ln>
                <a:solidFill>
                  <a:srgbClr val="3C3C41"/>
                </a:solidFill>
                <a:effectLst/>
                <a:uLnTx/>
                <a:uFillTx/>
                <a:latin typeface="Segoe UI"/>
                <a:ea typeface="+mn-ea"/>
                <a:cs typeface="Segoe UI"/>
              </a:rPr>
              <a:t>State is set to Requested</a:t>
            </a: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81206"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FI" sz="1600">
                <a:solidFill>
                  <a:schemeClr val="tx2">
                    <a:lumMod val="50000"/>
                  </a:schemeClr>
                </a:solidFill>
                <a:latin typeface="+mn-lt"/>
              </a:rPr>
              <a:t>Cloud Flows</a:t>
            </a:r>
            <a:endParaRPr lang="LID4096" sz="1600"/>
          </a:p>
        </p:txBody>
      </p:sp>
      <p:sp>
        <p:nvSpPr>
          <p:cNvPr id="11" name="TextBox 10">
            <a:extLst>
              <a:ext uri="{FF2B5EF4-FFF2-40B4-BE49-F238E27FC236}">
                <a16:creationId xmlns:a16="http://schemas.microsoft.com/office/drawing/2014/main" id="{5F6DD6EB-07E6-015D-CCA9-CBE82F14C703}"/>
              </a:ext>
            </a:extLst>
          </p:cNvPr>
          <p:cNvSpPr txBox="1"/>
          <p:nvPr/>
        </p:nvSpPr>
        <p:spPr>
          <a:xfrm>
            <a:off x="448835" y="6353294"/>
            <a:ext cx="11636668" cy="369332"/>
          </a:xfrm>
          <a:prstGeom prst="rect">
            <a:avLst/>
          </a:prstGeom>
          <a:noFill/>
        </p:spPr>
        <p:txBody>
          <a:bodyPr wrap="square">
            <a:spAutoFit/>
          </a:bodyPr>
          <a:lstStyle/>
          <a:p>
            <a:pPr marL="0" marR="0" lvl="0" indent="0" algn="l" defTabSz="914192" rtl="0" eaLnBrk="1" fontAlgn="auto" latinLnBrk="0" hangingPunct="1">
              <a:lnSpc>
                <a:spcPct val="100000"/>
              </a:lnSpc>
              <a:spcBef>
                <a:spcPts val="600"/>
              </a:spcBef>
              <a:buClrTx/>
              <a:buSzPct val="90000"/>
              <a:buNone/>
              <a:tabLst/>
              <a:defRPr/>
            </a:pPr>
            <a:r>
              <a:rPr lang="en-FI" sz="1800" u="sng" spc="-49">
                <a:solidFill>
                  <a:srgbClr val="3C3C41"/>
                </a:solidFill>
                <a:latin typeface="Segoe UI"/>
                <a:cs typeface="Segoe UI"/>
              </a:rPr>
              <a:t>NOTE, These features requires CoE Governance component to be deployed and configured in your environment</a:t>
            </a:r>
            <a:endParaRPr lang="en-US" sz="1600" u="sng"/>
          </a:p>
        </p:txBody>
      </p:sp>
      <p:pic>
        <p:nvPicPr>
          <p:cNvPr id="18" name="Picture 17">
            <a:extLst>
              <a:ext uri="{FF2B5EF4-FFF2-40B4-BE49-F238E27FC236}">
                <a16:creationId xmlns:a16="http://schemas.microsoft.com/office/drawing/2014/main" id="{18DC00BF-1B68-C9DD-FD36-0ECF4E1B3DE6}"/>
              </a:ext>
            </a:extLst>
          </p:cNvPr>
          <p:cNvPicPr>
            <a:picLocks noChangeAspect="1"/>
          </p:cNvPicPr>
          <p:nvPr/>
        </p:nvPicPr>
        <p:blipFill>
          <a:blip r:embed="rId5"/>
          <a:stretch>
            <a:fillRect/>
          </a:stretch>
        </p:blipFill>
        <p:spPr>
          <a:xfrm>
            <a:off x="8428693" y="1413379"/>
            <a:ext cx="3656810" cy="2055500"/>
          </a:xfrm>
          <a:prstGeom prst="rect">
            <a:avLst/>
          </a:prstGeom>
        </p:spPr>
      </p:pic>
      <p:pic>
        <p:nvPicPr>
          <p:cNvPr id="5" name="Picture 4">
            <a:extLst>
              <a:ext uri="{FF2B5EF4-FFF2-40B4-BE49-F238E27FC236}">
                <a16:creationId xmlns:a16="http://schemas.microsoft.com/office/drawing/2014/main" id="{980473C8-4ECA-325A-E533-A9590F1694DC}"/>
              </a:ext>
            </a:extLst>
          </p:cNvPr>
          <p:cNvPicPr>
            <a:picLocks noChangeAspect="1"/>
          </p:cNvPicPr>
          <p:nvPr/>
        </p:nvPicPr>
        <p:blipFill>
          <a:blip r:embed="rId6"/>
          <a:stretch>
            <a:fillRect/>
          </a:stretch>
        </p:blipFill>
        <p:spPr>
          <a:xfrm>
            <a:off x="8677836" y="3565375"/>
            <a:ext cx="2274387" cy="2691422"/>
          </a:xfrm>
          <a:prstGeom prst="rect">
            <a:avLst/>
          </a:prstGeom>
        </p:spPr>
      </p:pic>
    </p:spTree>
    <p:custDataLst>
      <p:tags r:id="rId1"/>
    </p:custDataLst>
    <p:extLst>
      <p:ext uri="{BB962C8B-B14F-4D97-AF65-F5344CB8AC3E}">
        <p14:creationId xmlns:p14="http://schemas.microsoft.com/office/powerpoint/2010/main" val="2889522625"/>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DLP </a:t>
            </a:r>
            <a:r>
              <a:rPr lang="en-FI" noProof="1">
                <a:solidFill>
                  <a:srgbClr val="243A5E"/>
                </a:solidFill>
              </a:rPr>
              <a:t>Impact Analysis</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440361"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Reads and updates Data Loss Prevention (DLP) policies while showing a list of apps and flows that are impacted by the policy configurations.</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kumimoji="0" lang="en-US" sz="2000" b="0" i="0" u="none" strike="noStrike" kern="1200" cap="none" spc="-49" normalizeH="0" baseline="0" noProof="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Make changes to DLP policies</a:t>
            </a:r>
            <a:endParaRPr kumimoji="0" lang="en-FI" sz="2000" b="0" i="0" u="none" strike="noStrike" kern="1200" cap="none" spc="-49" normalizeH="0" baseline="0" noProof="0">
              <a:ln>
                <a:noFill/>
              </a:ln>
              <a:solidFill>
                <a:srgbClr val="3C3C41"/>
              </a:solidFill>
              <a:effectLst/>
              <a:uLnTx/>
              <a:uFillTx/>
              <a:latin typeface="Segoe UI"/>
              <a:ea typeface="+mn-ea"/>
              <a:cs typeface="Segoe UI"/>
            </a:endParaRP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See impact each change will have</a:t>
            </a:r>
            <a:endParaRPr lang="en-FI" sz="2000" spc="-49">
              <a:solidFill>
                <a:srgbClr val="3C3C41"/>
              </a:solidFill>
              <a:latin typeface="Segoe UI"/>
              <a:cs typeface="Segoe UI"/>
            </a:endParaRP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FI" sz="2000" spc="-49">
                <a:solidFill>
                  <a:srgbClr val="3C3C41"/>
                </a:solidFill>
                <a:latin typeface="Segoe UI"/>
                <a:cs typeface="Segoe UI"/>
              </a:rPr>
              <a:t>Export impacted apps/flows to CSV file</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FI" sz="2000" b="0" i="0" u="none" strike="noStrike" kern="1200" cap="none" spc="-49" normalizeH="0" baseline="0" noProof="0">
                <a:ln>
                  <a:noFill/>
                </a:ln>
                <a:solidFill>
                  <a:srgbClr val="3C3C41"/>
                </a:solidFill>
                <a:effectLst/>
                <a:uLnTx/>
                <a:uFillTx/>
                <a:latin typeface="Segoe UI"/>
                <a:ea typeface="+mn-ea"/>
                <a:cs typeface="Segoe UI"/>
              </a:rPr>
              <a:t>Copy DLP policies</a:t>
            </a:r>
            <a:endParaRPr kumimoji="0" lang="en-US" sz="2000" b="0" i="0" u="none" strike="noStrike" kern="1200" cap="none" spc="-49" normalizeH="0" baseline="0" noProof="0">
              <a:ln>
                <a:noFill/>
              </a:ln>
              <a:solidFill>
                <a:srgbClr val="3C3C41"/>
              </a:solidFill>
              <a:effectLst/>
              <a:uLnTx/>
              <a:uFillTx/>
              <a:latin typeface="Segoe UI"/>
              <a:ea typeface="+mn-ea"/>
              <a:cs typeface="Segoe UI"/>
            </a:endParaRPr>
          </a:p>
          <a:p>
            <a:pPr marL="0" indent="0">
              <a:spcBef>
                <a:spcPts val="0"/>
              </a:spcBef>
              <a:spcAft>
                <a:spcPts val="600"/>
              </a:spcAft>
              <a:buNone/>
            </a:pP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602472"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dirty="0">
                <a:solidFill>
                  <a:schemeClr val="tx2">
                    <a:lumMod val="50000"/>
                  </a:schemeClr>
                </a:solidFill>
                <a:latin typeface="+mn-lt"/>
              </a:rPr>
              <a:t>Model-</a:t>
            </a:r>
            <a:r>
              <a:rPr lang="en-FI" sz="2000" dirty="0">
                <a:solidFill>
                  <a:schemeClr val="tx2">
                    <a:lumMod val="50000"/>
                  </a:schemeClr>
                </a:solidFill>
                <a:latin typeface="+mn-lt"/>
              </a:rPr>
              <a:t>D</a:t>
            </a:r>
            <a:r>
              <a:rPr lang="en-GB" sz="2000" dirty="0">
                <a:solidFill>
                  <a:schemeClr val="tx2">
                    <a:lumMod val="50000"/>
                  </a:schemeClr>
                </a:solidFill>
                <a:latin typeface="+mn-lt"/>
              </a:rPr>
              <a:t>riven App</a:t>
            </a:r>
            <a:endParaRPr lang="LID4096" sz="2000" dirty="0"/>
          </a:p>
        </p:txBody>
      </p:sp>
      <p:sp>
        <p:nvSpPr>
          <p:cNvPr id="6" name="Footer Placeholder 4">
            <a:extLst>
              <a:ext uri="{FF2B5EF4-FFF2-40B4-BE49-F238E27FC236}">
                <a16:creationId xmlns:a16="http://schemas.microsoft.com/office/drawing/2014/main" id="{0B06BB4C-670A-A480-CCBD-02E0E8BBA08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8" name="Picture 7" descr="A screenshot of a computer&#10;&#10;Description automatically generated">
            <a:extLst>
              <a:ext uri="{FF2B5EF4-FFF2-40B4-BE49-F238E27FC236}">
                <a16:creationId xmlns:a16="http://schemas.microsoft.com/office/drawing/2014/main" id="{B35BF4A5-E1D5-1A4B-9067-E999F85ABE56}"/>
              </a:ext>
            </a:extLst>
          </p:cNvPr>
          <p:cNvPicPr>
            <a:picLocks noChangeAspect="1"/>
          </p:cNvPicPr>
          <p:nvPr/>
        </p:nvPicPr>
        <p:blipFill>
          <a:blip r:embed="rId5"/>
          <a:stretch>
            <a:fillRect/>
          </a:stretch>
        </p:blipFill>
        <p:spPr>
          <a:xfrm>
            <a:off x="6417733" y="1244212"/>
            <a:ext cx="5104459" cy="2986689"/>
          </a:xfrm>
          <a:prstGeom prst="rect">
            <a:avLst/>
          </a:prstGeom>
        </p:spPr>
      </p:pic>
      <p:pic>
        <p:nvPicPr>
          <p:cNvPr id="7" name="Picture 6">
            <a:extLst>
              <a:ext uri="{FF2B5EF4-FFF2-40B4-BE49-F238E27FC236}">
                <a16:creationId xmlns:a16="http://schemas.microsoft.com/office/drawing/2014/main" id="{6D10122F-7A02-6922-C14C-6F5461458D2E}"/>
              </a:ext>
            </a:extLst>
          </p:cNvPr>
          <p:cNvPicPr>
            <a:picLocks noChangeAspect="1"/>
          </p:cNvPicPr>
          <p:nvPr/>
        </p:nvPicPr>
        <p:blipFill>
          <a:blip r:embed="rId6"/>
          <a:stretch>
            <a:fillRect/>
          </a:stretch>
        </p:blipFill>
        <p:spPr>
          <a:xfrm>
            <a:off x="8046039" y="3625769"/>
            <a:ext cx="3872950" cy="2769159"/>
          </a:xfrm>
          <a:prstGeom prst="rect">
            <a:avLst/>
          </a:prstGeom>
        </p:spPr>
      </p:pic>
    </p:spTree>
    <p:custDataLst>
      <p:tags r:id="rId1"/>
    </p:custDataLst>
    <p:extLst>
      <p:ext uri="{BB962C8B-B14F-4D97-AF65-F5344CB8AC3E}">
        <p14:creationId xmlns:p14="http://schemas.microsoft.com/office/powerpoint/2010/main" val="1393845032"/>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err="1">
                <a:solidFill>
                  <a:srgbClr val="243A5E"/>
                </a:solidFill>
                <a:cs typeface="Segoe UI"/>
              </a:rPr>
              <a:t>CoE</a:t>
            </a:r>
            <a:r>
              <a:rPr lang="en-US" sz="3200" dirty="0">
                <a:solidFill>
                  <a:srgbClr val="243A5E"/>
                </a:solidFill>
                <a:cs typeface="Segoe UI"/>
              </a:rPr>
              <a:t> Admin Command Center</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440361" cy="4819650"/>
          </a:xfrm>
        </p:spPr>
        <p:txBody>
          <a:bodyPr>
            <a:normAutofit fontScale="92500" lnSpcReduction="1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b="0" i="0" u="none" strike="noStrike" kern="1200" cap="none" spc="-49" normalizeH="0" baseline="0" noProof="0" dirty="0">
                <a:ln>
                  <a:noFill/>
                </a:ln>
                <a:solidFill>
                  <a:srgbClr val="3C3C41"/>
                </a:solidFill>
                <a:effectLst/>
                <a:uLnTx/>
                <a:uFillTx/>
                <a:latin typeface="Segoe UI"/>
                <a:ea typeface="+mn-ea"/>
                <a:cs typeface="Segoe UI"/>
              </a:rPr>
              <a:t>Used by admins as a starting point to launch other apps in the </a:t>
            </a:r>
            <a:r>
              <a:rPr kumimoji="0" lang="en-US" b="0" i="0" u="none" strike="noStrike" kern="1200" cap="none" spc="-49" normalizeH="0" baseline="0" noProof="0" dirty="0" err="1">
                <a:ln>
                  <a:noFill/>
                </a:ln>
                <a:solidFill>
                  <a:srgbClr val="3C3C41"/>
                </a:solidFill>
                <a:effectLst/>
                <a:uLnTx/>
                <a:uFillTx/>
                <a:latin typeface="Segoe UI"/>
                <a:ea typeface="+mn-ea"/>
                <a:cs typeface="Segoe UI"/>
              </a:rPr>
              <a:t>CoE</a:t>
            </a:r>
            <a:r>
              <a:rPr kumimoji="0" lang="en-US" b="0" i="0" u="none" strike="noStrike" kern="1200" cap="none" spc="-49" normalizeH="0" baseline="0" noProof="0" dirty="0">
                <a:ln>
                  <a:noFill/>
                </a:ln>
                <a:solidFill>
                  <a:srgbClr val="3C3C41"/>
                </a:solidFill>
                <a:effectLst/>
                <a:uLnTx/>
                <a:uFillTx/>
                <a:latin typeface="Segoe UI"/>
                <a:ea typeface="+mn-ea"/>
                <a:cs typeface="Segoe UI"/>
              </a:rPr>
              <a:t> Starter Kit and review content relevant to admins.</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lang="en-US" sz="600" dirty="0"/>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200" b="0" i="0" u="none" strike="noStrike" kern="1200" cap="none" spc="-49" normalizeH="0" baseline="0" noProof="0" dirty="0">
                <a:ln>
                  <a:noFill/>
                </a:ln>
                <a:solidFill>
                  <a:srgbClr val="3C3C41"/>
                </a:solidFill>
                <a:effectLst/>
                <a:uLnTx/>
                <a:uFillTx/>
                <a:latin typeface="Segoe UI"/>
                <a:ea typeface="+mn-ea"/>
                <a:cs typeface="Segoe UI"/>
              </a:rPr>
              <a:t>Use this app to:</a:t>
            </a:r>
          </a:p>
          <a:p>
            <a:pPr defTabSz="914192">
              <a:spcBef>
                <a:spcPts val="600"/>
              </a:spcBef>
              <a:buClrTx/>
              <a:defRPr/>
            </a:pPr>
            <a:r>
              <a:rPr kumimoji="0" lang="en-US" sz="1700" b="0" i="0" u="none" strike="noStrike" kern="1200" cap="none" spc="-49" normalizeH="0" baseline="0" noProof="0" dirty="0">
                <a:ln>
                  <a:noFill/>
                </a:ln>
                <a:solidFill>
                  <a:srgbClr val="3C3C41"/>
                </a:solidFill>
                <a:effectLst/>
                <a:uLnTx/>
                <a:uFillTx/>
                <a:latin typeface="Segoe UI"/>
                <a:ea typeface="+mn-ea"/>
                <a:cs typeface="Segoe UI"/>
              </a:rPr>
              <a:t>Launch </a:t>
            </a:r>
            <a:r>
              <a:rPr kumimoji="0" lang="en-US" sz="1700" b="0" i="0" u="none" strike="noStrike" kern="1200" cap="none" spc="-49" normalizeH="0" baseline="0" noProof="0" dirty="0" err="1">
                <a:ln>
                  <a:noFill/>
                </a:ln>
                <a:solidFill>
                  <a:srgbClr val="3C3C41"/>
                </a:solidFill>
                <a:effectLst/>
                <a:uLnTx/>
                <a:uFillTx/>
                <a:latin typeface="Segoe UI"/>
                <a:ea typeface="+mn-ea"/>
                <a:cs typeface="Segoe UI"/>
              </a:rPr>
              <a:t>CoE</a:t>
            </a:r>
            <a:r>
              <a:rPr kumimoji="0" lang="en-US" sz="1700" b="0" i="0" u="none" strike="noStrike" kern="1200" cap="none" spc="-49" normalizeH="0" baseline="0" noProof="0" dirty="0">
                <a:ln>
                  <a:noFill/>
                </a:ln>
                <a:solidFill>
                  <a:srgbClr val="3C3C41"/>
                </a:solidFill>
                <a:effectLst/>
                <a:uLnTx/>
                <a:uFillTx/>
                <a:latin typeface="Segoe UI"/>
                <a:ea typeface="+mn-ea"/>
                <a:cs typeface="Segoe UI"/>
              </a:rPr>
              <a:t> Starter Kit apps and other bookmarks</a:t>
            </a:r>
          </a:p>
          <a:p>
            <a:pPr defTabSz="914192">
              <a:spcBef>
                <a:spcPts val="600"/>
              </a:spcBef>
              <a:buClrTx/>
              <a:defRPr/>
            </a:pPr>
            <a:r>
              <a:rPr kumimoji="0" lang="en-US" sz="1700" b="0" i="0" u="none" strike="noStrike" kern="1200" cap="none" spc="-49" normalizeH="0" baseline="0" noProof="0" dirty="0">
                <a:ln>
                  <a:noFill/>
                </a:ln>
                <a:solidFill>
                  <a:srgbClr val="3C3C41"/>
                </a:solidFill>
                <a:effectLst/>
                <a:uLnTx/>
                <a:uFillTx/>
                <a:latin typeface="Segoe UI"/>
                <a:ea typeface="+mn-ea"/>
                <a:cs typeface="Segoe UI"/>
              </a:rPr>
              <a:t>Review </a:t>
            </a:r>
            <a:r>
              <a:rPr kumimoji="0" lang="en-US" sz="1700" b="0" i="0" u="none" strike="noStrike" kern="1200" cap="none" spc="-49" normalizeH="0" baseline="0" noProof="0" dirty="0" err="1">
                <a:ln>
                  <a:noFill/>
                </a:ln>
                <a:solidFill>
                  <a:srgbClr val="3C3C41"/>
                </a:solidFill>
                <a:effectLst/>
                <a:uLnTx/>
                <a:uFillTx/>
                <a:latin typeface="Segoe UI"/>
                <a:ea typeface="+mn-ea"/>
                <a:cs typeface="Segoe UI"/>
              </a:rPr>
              <a:t>CoE</a:t>
            </a:r>
            <a:r>
              <a:rPr kumimoji="0" lang="en-US" sz="1700" b="0" i="0" u="none" strike="noStrike" kern="1200" cap="none" spc="-49" normalizeH="0" baseline="0" noProof="0" dirty="0">
                <a:ln>
                  <a:noFill/>
                </a:ln>
                <a:solidFill>
                  <a:srgbClr val="3C3C41"/>
                </a:solidFill>
                <a:effectLst/>
                <a:uLnTx/>
                <a:uFillTx/>
                <a:latin typeface="Segoe UI"/>
                <a:ea typeface="+mn-ea"/>
                <a:cs typeface="Segoe UI"/>
              </a:rPr>
              <a:t> Starter Kit service health by checking sync flows that have recently failed</a:t>
            </a:r>
          </a:p>
          <a:p>
            <a:pPr defTabSz="914192">
              <a:spcBef>
                <a:spcPts val="600"/>
              </a:spcBef>
              <a:buClrTx/>
              <a:defRPr/>
            </a:pPr>
            <a:r>
              <a:rPr kumimoji="0" lang="en-US" sz="1700" b="0" i="0" u="none" strike="noStrike" kern="1200" cap="none" spc="-49" normalizeH="0" baseline="0" noProof="0" dirty="0">
                <a:ln>
                  <a:noFill/>
                </a:ln>
                <a:solidFill>
                  <a:srgbClr val="3C3C41"/>
                </a:solidFill>
                <a:effectLst/>
                <a:uLnTx/>
                <a:uFillTx/>
                <a:latin typeface="Segoe UI"/>
                <a:ea typeface="+mn-ea"/>
                <a:cs typeface="Segoe UI"/>
              </a:rPr>
              <a:t>Update environment variables used in the </a:t>
            </a:r>
            <a:r>
              <a:rPr kumimoji="0" lang="en-US" sz="1700" b="0" i="0" u="none" strike="noStrike" kern="1200" cap="none" spc="-49" normalizeH="0" baseline="0" noProof="0" dirty="0" err="1">
                <a:ln>
                  <a:noFill/>
                </a:ln>
                <a:solidFill>
                  <a:srgbClr val="3C3C41"/>
                </a:solidFill>
                <a:effectLst/>
                <a:uLnTx/>
                <a:uFillTx/>
                <a:latin typeface="Segoe UI"/>
                <a:ea typeface="+mn-ea"/>
                <a:cs typeface="Segoe UI"/>
              </a:rPr>
              <a:t>CoE</a:t>
            </a:r>
            <a:r>
              <a:rPr kumimoji="0" lang="en-US" sz="1700" b="0" i="0" u="none" strike="noStrike" kern="1200" cap="none" spc="-49" normalizeH="0" baseline="0" noProof="0" dirty="0">
                <a:ln>
                  <a:noFill/>
                </a:ln>
                <a:solidFill>
                  <a:srgbClr val="3C3C41"/>
                </a:solidFill>
                <a:effectLst/>
                <a:uLnTx/>
                <a:uFillTx/>
                <a:latin typeface="Segoe UI"/>
                <a:ea typeface="+mn-ea"/>
                <a:cs typeface="Segoe UI"/>
              </a:rPr>
              <a:t> Starter Kit</a:t>
            </a:r>
          </a:p>
          <a:p>
            <a:pPr defTabSz="914192">
              <a:spcBef>
                <a:spcPts val="600"/>
              </a:spcBef>
              <a:buClrTx/>
              <a:defRPr/>
            </a:pPr>
            <a:r>
              <a:rPr kumimoji="0" lang="en-US" sz="1700" b="0" i="0" u="none" strike="noStrike" kern="1200" cap="none" spc="-49" normalizeH="0" baseline="0" noProof="0" dirty="0">
                <a:ln>
                  <a:noFill/>
                </a:ln>
                <a:solidFill>
                  <a:srgbClr val="3C3C41"/>
                </a:solidFill>
                <a:effectLst/>
                <a:uLnTx/>
                <a:uFillTx/>
                <a:latin typeface="Segoe UI"/>
                <a:ea typeface="+mn-ea"/>
                <a:cs typeface="Segoe UI"/>
              </a:rPr>
              <a:t>View Microsoft 365 Message Center news related to Microsoft Power Platform</a:t>
            </a:r>
          </a:p>
          <a:p>
            <a:pPr defTabSz="914192">
              <a:spcBef>
                <a:spcPts val="600"/>
              </a:spcBef>
              <a:buClrTx/>
              <a:defRPr/>
            </a:pPr>
            <a:r>
              <a:rPr kumimoji="0" lang="en-US" sz="1700" b="0" i="0" u="none" strike="noStrike" kern="1200" cap="none" spc="-49" normalizeH="0" baseline="0" noProof="0" dirty="0">
                <a:ln>
                  <a:noFill/>
                </a:ln>
                <a:solidFill>
                  <a:srgbClr val="3C3C41"/>
                </a:solidFill>
                <a:effectLst/>
                <a:uLnTx/>
                <a:uFillTx/>
                <a:latin typeface="Segoe UI"/>
                <a:ea typeface="+mn-ea"/>
                <a:cs typeface="Segoe UI"/>
              </a:rPr>
              <a:t>Download the latest </a:t>
            </a:r>
            <a:r>
              <a:rPr kumimoji="0" lang="en-US" sz="1700" b="0" i="0" u="none" strike="noStrike" kern="1200" cap="none" spc="-49" normalizeH="0" baseline="0" noProof="0" dirty="0" err="1">
                <a:ln>
                  <a:noFill/>
                </a:ln>
                <a:solidFill>
                  <a:srgbClr val="3C3C41"/>
                </a:solidFill>
                <a:effectLst/>
                <a:uLnTx/>
                <a:uFillTx/>
                <a:latin typeface="Segoe UI"/>
                <a:ea typeface="+mn-ea"/>
                <a:cs typeface="Segoe UI"/>
              </a:rPr>
              <a:t>CoE</a:t>
            </a:r>
            <a:r>
              <a:rPr kumimoji="0" lang="en-US" sz="1700" b="0" i="0" u="none" strike="noStrike" kern="1200" cap="none" spc="-49" normalizeH="0" baseline="0" noProof="0" dirty="0">
                <a:ln>
                  <a:noFill/>
                </a:ln>
                <a:solidFill>
                  <a:srgbClr val="3C3C41"/>
                </a:solidFill>
                <a:effectLst/>
                <a:uLnTx/>
                <a:uFillTx/>
                <a:latin typeface="Segoe UI"/>
                <a:ea typeface="+mn-ea"/>
                <a:cs typeface="Segoe UI"/>
              </a:rPr>
              <a:t> Starter Kit version and raise support tickets with the team</a:t>
            </a:r>
          </a:p>
          <a:p>
            <a:pPr defTabSz="914192">
              <a:spcBef>
                <a:spcPts val="600"/>
              </a:spcBef>
              <a:buClrTx/>
              <a:defRPr/>
            </a:pPr>
            <a:r>
              <a:rPr kumimoji="0" lang="en-US" sz="1700" b="0" i="0" u="none" strike="noStrike" kern="1200" cap="none" spc="-49" normalizeH="0" baseline="0" noProof="0" dirty="0">
                <a:ln>
                  <a:noFill/>
                </a:ln>
                <a:solidFill>
                  <a:srgbClr val="3C3C41"/>
                </a:solidFill>
                <a:effectLst/>
                <a:uLnTx/>
                <a:uFillTx/>
                <a:latin typeface="Segoe UI"/>
                <a:ea typeface="+mn-ea"/>
                <a:cs typeface="Segoe UI"/>
              </a:rPr>
              <a:t>Launch Microsoft Learn learning paths to learn more about Microsoft Power Platform</a:t>
            </a:r>
          </a:p>
          <a:p>
            <a:pPr defTabSz="914192">
              <a:spcBef>
                <a:spcPts val="600"/>
              </a:spcBef>
              <a:buClrTx/>
              <a:defRPr/>
            </a:pPr>
            <a:r>
              <a:rPr kumimoji="0" lang="en-US" sz="1700" b="0" i="0" u="none" strike="noStrike" kern="1200" cap="none" spc="-49" normalizeH="0" baseline="0" noProof="0" dirty="0">
                <a:ln>
                  <a:noFill/>
                </a:ln>
                <a:solidFill>
                  <a:srgbClr val="3C3C41"/>
                </a:solidFill>
                <a:effectLst/>
                <a:uLnTx/>
                <a:uFillTx/>
                <a:latin typeface="Segoe UI"/>
                <a:ea typeface="+mn-ea"/>
                <a:cs typeface="Segoe UI"/>
              </a:rPr>
              <a:t>Launch the latest posts of the Power Apps, Power Automate, Power BI and Power Virtual Agent blogs</a:t>
            </a:r>
          </a:p>
          <a:p>
            <a:pPr marL="0" indent="0">
              <a:spcBef>
                <a:spcPts val="0"/>
              </a:spcBef>
              <a:spcAft>
                <a:spcPts val="600"/>
              </a:spcAft>
              <a:buNone/>
            </a:pPr>
            <a:endParaRPr lang="en-US" sz="1800" dirty="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dirty="0">
                <a:solidFill>
                  <a:schemeClr val="tx2">
                    <a:lumMod val="50000"/>
                  </a:schemeClr>
                </a:solidFill>
                <a:latin typeface="+mn-lt"/>
              </a:rPr>
              <a:t>Model-</a:t>
            </a:r>
            <a:r>
              <a:rPr lang="en-FI" sz="2000" dirty="0">
                <a:solidFill>
                  <a:schemeClr val="tx2">
                    <a:lumMod val="50000"/>
                  </a:schemeClr>
                </a:solidFill>
                <a:latin typeface="+mn-lt"/>
              </a:rPr>
              <a:t>D</a:t>
            </a:r>
            <a:r>
              <a:rPr lang="en-GB" sz="2000" dirty="0">
                <a:solidFill>
                  <a:schemeClr val="tx2">
                    <a:lumMod val="50000"/>
                  </a:schemeClr>
                </a:solidFill>
                <a:latin typeface="+mn-lt"/>
              </a:rPr>
              <a:t>riven App</a:t>
            </a:r>
            <a:endParaRPr lang="LID4096" sz="2000" dirty="0"/>
          </a:p>
        </p:txBody>
      </p:sp>
      <p:sp>
        <p:nvSpPr>
          <p:cNvPr id="5" name="Footer Placeholder 4">
            <a:extLst>
              <a:ext uri="{FF2B5EF4-FFF2-40B4-BE49-F238E27FC236}">
                <a16:creationId xmlns:a16="http://schemas.microsoft.com/office/drawing/2014/main" id="{375BE2CD-95C2-A076-82E8-F8426A2873D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6" name="Picture 5">
            <a:extLst>
              <a:ext uri="{FF2B5EF4-FFF2-40B4-BE49-F238E27FC236}">
                <a16:creationId xmlns:a16="http://schemas.microsoft.com/office/drawing/2014/main" id="{9FF09BDA-BA7C-A74E-97FE-A952897696E9}"/>
              </a:ext>
            </a:extLst>
          </p:cNvPr>
          <p:cNvPicPr>
            <a:picLocks noChangeAspect="1"/>
          </p:cNvPicPr>
          <p:nvPr/>
        </p:nvPicPr>
        <p:blipFill>
          <a:blip r:embed="rId5"/>
          <a:stretch>
            <a:fillRect/>
          </a:stretch>
        </p:blipFill>
        <p:spPr>
          <a:xfrm>
            <a:off x="6489625" y="1408114"/>
            <a:ext cx="5524692" cy="4124468"/>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3851503898"/>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err="1">
                <a:solidFill>
                  <a:srgbClr val="243A5E"/>
                </a:solidFill>
                <a:cs typeface="Segoe UI"/>
              </a:rPr>
              <a:t>CoE</a:t>
            </a:r>
            <a:r>
              <a:rPr lang="en-US" sz="3200" dirty="0">
                <a:solidFill>
                  <a:srgbClr val="243A5E"/>
                </a:solidFill>
                <a:cs typeface="Segoe UI"/>
              </a:rPr>
              <a:t> Maker Command Center</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440362"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a:solidFill>
                  <a:srgbClr val="3C3C41"/>
                </a:solidFill>
                <a:latin typeface="Segoe UI"/>
                <a:cs typeface="Segoe UI"/>
              </a:rPr>
              <a:t>U</a:t>
            </a:r>
            <a:r>
              <a:rPr kumimoji="0" lang="en-US" sz="2000" b="0" i="0" u="none" strike="noStrike" kern="1200" cap="none" spc="-49" normalizeH="0" baseline="0" noProof="0">
                <a:ln>
                  <a:noFill/>
                </a:ln>
                <a:solidFill>
                  <a:srgbClr val="3C3C41"/>
                </a:solidFill>
                <a:effectLst/>
                <a:uLnTx/>
                <a:uFillTx/>
                <a:latin typeface="Segoe UI"/>
                <a:ea typeface="+mn-ea"/>
                <a:cs typeface="Segoe UI"/>
              </a:rPr>
              <a:t>sed by makers as a starting point to launch apps</a:t>
            </a:r>
            <a:r>
              <a:rPr kumimoji="0" lang="en-FI" sz="2000" b="0" i="0" u="none" strike="noStrike" kern="1200" cap="none" spc="-49" normalizeH="0" baseline="0" noProof="0">
                <a:ln>
                  <a:noFill/>
                </a:ln>
                <a:solidFill>
                  <a:srgbClr val="3C3C41"/>
                </a:solidFill>
                <a:effectLst/>
                <a:uLnTx/>
                <a:uFillTx/>
                <a:latin typeface="Segoe UI"/>
                <a:ea typeface="+mn-ea"/>
                <a:cs typeface="Segoe UI"/>
              </a:rPr>
              <a:t> which</a:t>
            </a:r>
            <a:r>
              <a:rPr kumimoji="0" lang="en-US" sz="2000" b="0" i="0" u="none" strike="noStrike" kern="1200" cap="none" spc="-49" normalizeH="0" baseline="0" noProof="0">
                <a:ln>
                  <a:noFill/>
                </a:ln>
                <a:solidFill>
                  <a:srgbClr val="3C3C41"/>
                </a:solidFill>
                <a:effectLst/>
                <a:uLnTx/>
                <a:uFillTx/>
                <a:latin typeface="Segoe UI"/>
                <a:ea typeface="+mn-ea"/>
                <a:cs typeface="Segoe UI"/>
              </a:rPr>
              <a:t> admins have published using Admin – Command Center a</a:t>
            </a:r>
            <a:r>
              <a:rPr kumimoji="0" lang="en-FI" sz="2000" b="0" i="0" u="none" strike="noStrike" kern="1200" cap="none" spc="-49" normalizeH="0" baseline="0" noProof="0" err="1">
                <a:ln>
                  <a:noFill/>
                </a:ln>
                <a:solidFill>
                  <a:srgbClr val="3C3C41"/>
                </a:solidFill>
                <a:effectLst/>
                <a:uLnTx/>
                <a:uFillTx/>
                <a:latin typeface="Segoe UI"/>
                <a:ea typeface="+mn-ea"/>
                <a:cs typeface="Segoe UI"/>
              </a:rPr>
              <a:t>nd</a:t>
            </a:r>
            <a:r>
              <a:rPr kumimoji="0" lang="en-FI" sz="2000" b="0" i="0" u="none" strike="noStrike" kern="1200" cap="none" spc="-49" normalizeH="0" baseline="0" noProof="0">
                <a:ln>
                  <a:noFill/>
                </a:ln>
                <a:solidFill>
                  <a:srgbClr val="3C3C41"/>
                </a:solidFill>
                <a:effectLst/>
                <a:uLnTx/>
                <a:uFillTx/>
                <a:latin typeface="Segoe UI"/>
                <a:ea typeface="+mn-ea"/>
                <a:cs typeface="Segoe UI"/>
              </a:rPr>
              <a:t> are</a:t>
            </a:r>
            <a:r>
              <a:rPr kumimoji="0" lang="en-US" sz="2000" b="0" i="0" u="none" strike="noStrike" kern="1200" cap="none" spc="-49" normalizeH="0" baseline="0" noProof="0">
                <a:ln>
                  <a:noFill/>
                </a:ln>
                <a:solidFill>
                  <a:srgbClr val="3C3C41"/>
                </a:solidFill>
                <a:effectLst/>
                <a:uLnTx/>
                <a:uFillTx/>
                <a:latin typeface="Segoe UI"/>
                <a:ea typeface="+mn-ea"/>
                <a:cs typeface="Segoe UI"/>
              </a:rPr>
              <a:t> relevant to makers like App Catalog and Environment Request</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kumimoji="0" lang="en-US" sz="1000" b="0" i="0" u="none" strike="noStrike" kern="1200" cap="none" spc="-49" normalizeH="0" baseline="0" noProof="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Segoe UI"/>
              </a:rPr>
              <a:t>Launch </a:t>
            </a:r>
            <a:r>
              <a:rPr kumimoji="0" lang="en-US" sz="1800" b="0" i="0" u="none" strike="noStrike" kern="1200" cap="none" spc="-49" normalizeH="0" baseline="0" noProof="0" err="1">
                <a:ln>
                  <a:noFill/>
                </a:ln>
                <a:solidFill>
                  <a:srgbClr val="3C3C41"/>
                </a:solidFill>
                <a:effectLst/>
                <a:uLnTx/>
                <a:uFillTx/>
                <a:latin typeface="Segoe UI"/>
                <a:ea typeface="+mn-ea"/>
                <a:cs typeface="Segoe UI"/>
              </a:rPr>
              <a:t>CoE</a:t>
            </a:r>
            <a:r>
              <a:rPr kumimoji="0" lang="en-US" sz="1800" b="0" i="0" u="none" strike="noStrike" kern="1200" cap="none" spc="-49" normalizeH="0" baseline="0" noProof="0">
                <a:ln>
                  <a:noFill/>
                </a:ln>
                <a:solidFill>
                  <a:srgbClr val="3C3C41"/>
                </a:solidFill>
                <a:effectLst/>
                <a:uLnTx/>
                <a:uFillTx/>
                <a:latin typeface="Segoe UI"/>
                <a:ea typeface="+mn-ea"/>
                <a:cs typeface="Segoe UI"/>
              </a:rPr>
              <a:t> Starter Kit apps and other bookmarks published by admins</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Segoe UI"/>
              </a:rPr>
              <a:t>Launch Microsoft Learn learning paths to learn more about Microsoft Power Platform</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Segoe UI"/>
              </a:rPr>
              <a:t>Launch the latest posts of the Power Apps, Power Automate, Power BI and Power Virtual Agent blogs</a:t>
            </a:r>
          </a:p>
          <a:p>
            <a:pPr marL="0" indent="0">
              <a:spcBef>
                <a:spcPts val="0"/>
              </a:spcBef>
              <a:spcAft>
                <a:spcPts val="600"/>
              </a:spcAft>
              <a:buNone/>
            </a:pP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dirty="0">
                <a:solidFill>
                  <a:schemeClr val="tx2">
                    <a:lumMod val="50000"/>
                  </a:schemeClr>
                </a:solidFill>
                <a:latin typeface="+mn-lt"/>
              </a:rPr>
              <a:t>Model-</a:t>
            </a:r>
            <a:r>
              <a:rPr lang="en-FI" sz="2000" dirty="0">
                <a:solidFill>
                  <a:schemeClr val="tx2">
                    <a:lumMod val="50000"/>
                  </a:schemeClr>
                </a:solidFill>
                <a:latin typeface="+mn-lt"/>
              </a:rPr>
              <a:t>D</a:t>
            </a:r>
            <a:r>
              <a:rPr lang="en-GB" sz="2000" dirty="0">
                <a:solidFill>
                  <a:schemeClr val="tx2">
                    <a:lumMod val="50000"/>
                  </a:schemeClr>
                </a:solidFill>
                <a:latin typeface="+mn-lt"/>
              </a:rPr>
              <a:t>riven App</a:t>
            </a:r>
            <a:endParaRPr lang="LID4096" sz="2000" dirty="0"/>
          </a:p>
        </p:txBody>
      </p:sp>
      <p:sp>
        <p:nvSpPr>
          <p:cNvPr id="6" name="Footer Placeholder 4">
            <a:extLst>
              <a:ext uri="{FF2B5EF4-FFF2-40B4-BE49-F238E27FC236}">
                <a16:creationId xmlns:a16="http://schemas.microsoft.com/office/drawing/2014/main" id="{3613D78A-F35B-41E0-CAFB-1BABDBA801B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7" name="Picture 6">
            <a:extLst>
              <a:ext uri="{FF2B5EF4-FFF2-40B4-BE49-F238E27FC236}">
                <a16:creationId xmlns:a16="http://schemas.microsoft.com/office/drawing/2014/main" id="{D8DA2F0D-BE3A-8128-EAC8-BEC70DE825C1}"/>
              </a:ext>
            </a:extLst>
          </p:cNvPr>
          <p:cNvPicPr>
            <a:picLocks noChangeAspect="1"/>
          </p:cNvPicPr>
          <p:nvPr/>
        </p:nvPicPr>
        <p:blipFill>
          <a:blip r:embed="rId5"/>
          <a:stretch>
            <a:fillRect/>
          </a:stretch>
        </p:blipFill>
        <p:spPr>
          <a:xfrm>
            <a:off x="6364919" y="1408114"/>
            <a:ext cx="5652246" cy="3797358"/>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4036827784"/>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a:solidFill>
                  <a:srgbClr val="243A5E"/>
                </a:solidFill>
                <a:cs typeface="Segoe UI"/>
              </a:rPr>
              <a:t>Environment Request</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819590"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a:solidFill>
                  <a:srgbClr val="3C3C41"/>
                </a:solidFill>
                <a:latin typeface="Segoe UI"/>
                <a:cs typeface="Segoe UI"/>
              </a:rPr>
              <a:t>Designed to easily submit Power Platform </a:t>
            </a:r>
            <a:r>
              <a:rPr lang="en-FI" sz="2000">
                <a:solidFill>
                  <a:srgbClr val="3C3C41"/>
                </a:solidFill>
                <a:latin typeface="Segoe UI"/>
                <a:cs typeface="Segoe UI"/>
              </a:rPr>
              <a:t>resource requests </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lang="en-FI" sz="2000">
              <a:solidFill>
                <a:srgbClr val="3C3C41"/>
              </a:solidFill>
              <a:latin typeface="Segoe UI"/>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a:solidFill>
                  <a:srgbClr val="3C3C41"/>
                </a:solidFill>
                <a:latin typeface="Segoe UI"/>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800">
                <a:solidFill>
                  <a:srgbClr val="3C3C41"/>
                </a:solidFill>
                <a:latin typeface="Segoe UI"/>
                <a:cs typeface="Segoe UI"/>
              </a:rPr>
              <a:t>Submit new</a:t>
            </a:r>
            <a:r>
              <a:rPr lang="en-FI" sz="1800">
                <a:solidFill>
                  <a:srgbClr val="3C3C41"/>
                </a:solidFill>
                <a:latin typeface="Segoe UI"/>
                <a:cs typeface="Segoe UI"/>
              </a:rPr>
              <a:t> and view your existing e</a:t>
            </a:r>
            <a:r>
              <a:rPr lang="en-US" sz="1800" err="1">
                <a:solidFill>
                  <a:srgbClr val="3C3C41"/>
                </a:solidFill>
                <a:latin typeface="Segoe UI"/>
                <a:cs typeface="Segoe UI"/>
              </a:rPr>
              <a:t>nvironment</a:t>
            </a:r>
            <a:r>
              <a:rPr lang="en-US" sz="1800">
                <a:solidFill>
                  <a:srgbClr val="3C3C41"/>
                </a:solidFill>
                <a:latin typeface="Segoe UI"/>
                <a:cs typeface="Segoe UI"/>
              </a:rPr>
              <a:t> </a:t>
            </a:r>
            <a:r>
              <a:rPr lang="en-FI" sz="1800">
                <a:solidFill>
                  <a:srgbClr val="3C3C41"/>
                </a:solidFill>
                <a:latin typeface="Segoe UI"/>
                <a:cs typeface="Segoe UI"/>
              </a:rPr>
              <a:t>c</a:t>
            </a:r>
            <a:r>
              <a:rPr lang="en-US" sz="1800" err="1">
                <a:solidFill>
                  <a:srgbClr val="3C3C41"/>
                </a:solidFill>
                <a:latin typeface="Segoe UI"/>
                <a:cs typeface="Segoe UI"/>
              </a:rPr>
              <a:t>reation</a:t>
            </a:r>
            <a:r>
              <a:rPr lang="en-US" sz="1800">
                <a:solidFill>
                  <a:srgbClr val="3C3C41"/>
                </a:solidFill>
                <a:latin typeface="Segoe UI"/>
                <a:cs typeface="Segoe UI"/>
              </a:rPr>
              <a:t> </a:t>
            </a:r>
            <a:r>
              <a:rPr lang="en-FI" sz="1800">
                <a:solidFill>
                  <a:srgbClr val="3C3C41"/>
                </a:solidFill>
                <a:latin typeface="Segoe UI"/>
                <a:cs typeface="Segoe UI"/>
              </a:rPr>
              <a:t>r</a:t>
            </a:r>
            <a:r>
              <a:rPr lang="en-US" sz="1800" err="1">
                <a:solidFill>
                  <a:srgbClr val="3C3C41"/>
                </a:solidFill>
                <a:latin typeface="Segoe UI"/>
                <a:cs typeface="Segoe UI"/>
              </a:rPr>
              <a:t>equests</a:t>
            </a:r>
            <a:endParaRPr lang="en-US" sz="1800">
              <a:solidFill>
                <a:srgbClr val="3C3C41"/>
              </a:solidFill>
              <a:latin typeface="Segoe UI"/>
              <a:cs typeface="Segoe UI"/>
            </a:endParaRPr>
          </a:p>
          <a:p>
            <a:pPr marL="342900" marR="0" lvl="0" indent="-342900" algn="l" defTabSz="914192">
              <a:lnSpc>
                <a:spcPct val="100000"/>
              </a:lnSpc>
              <a:spcBef>
                <a:spcPts val="600"/>
              </a:spcBef>
              <a:buClrTx/>
              <a:buSzPct val="90000"/>
              <a:buFont typeface="Arial" panose="020B0604020202020204" pitchFamily="34" charset="0"/>
              <a:buChar char="•"/>
              <a:tabLst/>
              <a:defRPr/>
            </a:pPr>
            <a:r>
              <a:rPr lang="en-US" sz="1800">
                <a:solidFill>
                  <a:srgbClr val="3C3C41"/>
                </a:solidFill>
                <a:latin typeface="Segoe UI"/>
                <a:cs typeface="Segoe UI"/>
              </a:rPr>
              <a:t>Expiration timeline and link to the </a:t>
            </a:r>
            <a:r>
              <a:rPr lang="en-FI" sz="1800">
                <a:solidFill>
                  <a:srgbClr val="3C3C41"/>
                </a:solidFill>
                <a:latin typeface="Segoe UI"/>
                <a:cs typeface="Segoe UI"/>
              </a:rPr>
              <a:t>l</a:t>
            </a:r>
            <a:r>
              <a:rPr lang="en-US" sz="1800" err="1">
                <a:solidFill>
                  <a:srgbClr val="3C3C41"/>
                </a:solidFill>
                <a:latin typeface="Segoe UI"/>
                <a:cs typeface="Segoe UI"/>
              </a:rPr>
              <a:t>ive</a:t>
            </a:r>
            <a:r>
              <a:rPr lang="en-US" sz="1800">
                <a:solidFill>
                  <a:srgbClr val="3C3C41"/>
                </a:solidFill>
                <a:latin typeface="Segoe UI"/>
                <a:cs typeface="Segoe UI"/>
              </a:rPr>
              <a:t> environments can be found here</a:t>
            </a:r>
            <a:endParaRPr lang="en-FI" sz="1800">
              <a:solidFill>
                <a:srgbClr val="3C3C41"/>
              </a:solidFill>
              <a:latin typeface="Segoe UI"/>
              <a:cs typeface="Segoe UI"/>
            </a:endParaRPr>
          </a:p>
          <a:p>
            <a:pPr marL="342900" marR="0" lvl="0" indent="-342900" algn="l" defTabSz="914192">
              <a:lnSpc>
                <a:spcPct val="100000"/>
              </a:lnSpc>
              <a:spcBef>
                <a:spcPts val="600"/>
              </a:spcBef>
              <a:buClrTx/>
              <a:buSzPct val="90000"/>
              <a:buFont typeface="Arial" panose="020B0604020202020204" pitchFamily="34" charset="0"/>
              <a:buChar char="•"/>
              <a:tabLst/>
              <a:defRPr/>
            </a:pPr>
            <a:r>
              <a:rPr lang="en-FI" sz="1800" b="0" i="0" u="none" strike="noStrike" kern="1200" cap="none" spc="-49" normalizeH="0" baseline="0" noProof="0">
                <a:ln>
                  <a:noFill/>
                </a:ln>
                <a:solidFill>
                  <a:srgbClr val="3C3C41"/>
                </a:solidFill>
                <a:effectLst/>
                <a:uLnTx/>
                <a:uFillTx/>
                <a:latin typeface="Segoe UI"/>
                <a:cs typeface="Segoe UI"/>
              </a:rPr>
              <a:t>Request DLP policy change, at the moment only </a:t>
            </a:r>
            <a:r>
              <a:rPr lang="en-FI" sz="1800" b="1" i="0" u="none" strike="noStrike" kern="1200" cap="none" spc="-49" normalizeH="0" baseline="0" noProof="0">
                <a:ln>
                  <a:noFill/>
                </a:ln>
                <a:solidFill>
                  <a:srgbClr val="3C3C41"/>
                </a:solidFill>
                <a:effectLst/>
                <a:uLnTx/>
                <a:uFillTx/>
                <a:latin typeface="Segoe UI"/>
                <a:cs typeface="Segoe UI"/>
              </a:rPr>
              <a:t>apply a policy to an environment </a:t>
            </a:r>
            <a:r>
              <a:rPr lang="en-FI" sz="1800" i="0" u="none" strike="noStrike" kern="1200" cap="none" spc="-49" normalizeH="0" baseline="0" noProof="0">
                <a:ln>
                  <a:noFill/>
                </a:ln>
                <a:solidFill>
                  <a:srgbClr val="3C3C41"/>
                </a:solidFill>
                <a:effectLst/>
                <a:uLnTx/>
                <a:uFillTx/>
                <a:latin typeface="Segoe UI"/>
                <a:cs typeface="Segoe UI"/>
              </a:rPr>
              <a:t>is available</a:t>
            </a:r>
            <a:endParaRPr lang="en-US" sz="1800" b="1" i="0" u="none" strike="noStrike" kern="1200" cap="none" spc="-49" normalizeH="0" baseline="0" noProof="0">
              <a:ln>
                <a:noFill/>
              </a:ln>
              <a:solidFill>
                <a:srgbClr val="3C3C41"/>
              </a:solidFill>
              <a:effectLst/>
              <a:uLnTx/>
              <a:uFillTx/>
              <a:latin typeface="Segoe UI"/>
              <a:cs typeface="Segoe UI"/>
            </a:endParaRPr>
          </a:p>
          <a:p>
            <a:pPr marL="0" indent="0">
              <a:spcBef>
                <a:spcPts val="0"/>
              </a:spcBef>
              <a:spcAft>
                <a:spcPts val="600"/>
              </a:spcAft>
              <a:buNone/>
            </a:pP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a:solidFill>
                  <a:schemeClr val="tx2">
                    <a:lumMod val="50000"/>
                  </a:schemeClr>
                </a:solidFill>
                <a:latin typeface="+mn-lt"/>
              </a:rPr>
              <a:t>Canvas App</a:t>
            </a:r>
            <a:endParaRPr lang="LID4096" sz="2000"/>
          </a:p>
        </p:txBody>
      </p:sp>
      <p:pic>
        <p:nvPicPr>
          <p:cNvPr id="5" name="Picture 4">
            <a:extLst>
              <a:ext uri="{FF2B5EF4-FFF2-40B4-BE49-F238E27FC236}">
                <a16:creationId xmlns:a16="http://schemas.microsoft.com/office/drawing/2014/main" id="{21278ED0-579A-4A8D-9C2B-B6A4B2CC1866}"/>
              </a:ext>
            </a:extLst>
          </p:cNvPr>
          <p:cNvPicPr>
            <a:picLocks noChangeAspect="1"/>
          </p:cNvPicPr>
          <p:nvPr/>
        </p:nvPicPr>
        <p:blipFill>
          <a:blip r:embed="rId5"/>
          <a:stretch>
            <a:fillRect/>
          </a:stretch>
        </p:blipFill>
        <p:spPr>
          <a:xfrm>
            <a:off x="7012325" y="610730"/>
            <a:ext cx="5168999" cy="3057503"/>
          </a:xfrm>
          <a:prstGeom prst="rect">
            <a:avLst/>
          </a:prstGeom>
        </p:spPr>
      </p:pic>
      <p:pic>
        <p:nvPicPr>
          <p:cNvPr id="14" name="Picture 13">
            <a:extLst>
              <a:ext uri="{FF2B5EF4-FFF2-40B4-BE49-F238E27FC236}">
                <a16:creationId xmlns:a16="http://schemas.microsoft.com/office/drawing/2014/main" id="{729135A9-63AC-8953-125D-7B85EC7B0BEC}"/>
              </a:ext>
            </a:extLst>
          </p:cNvPr>
          <p:cNvPicPr>
            <a:picLocks noChangeAspect="1"/>
          </p:cNvPicPr>
          <p:nvPr/>
        </p:nvPicPr>
        <p:blipFill>
          <a:blip r:embed="rId6"/>
          <a:stretch>
            <a:fillRect/>
          </a:stretch>
        </p:blipFill>
        <p:spPr>
          <a:xfrm>
            <a:off x="6641806" y="2678922"/>
            <a:ext cx="4092148" cy="1978621"/>
          </a:xfrm>
          <a:prstGeom prst="rect">
            <a:avLst/>
          </a:prstGeom>
        </p:spPr>
      </p:pic>
      <p:pic>
        <p:nvPicPr>
          <p:cNvPr id="12" name="Picture 11">
            <a:extLst>
              <a:ext uri="{FF2B5EF4-FFF2-40B4-BE49-F238E27FC236}">
                <a16:creationId xmlns:a16="http://schemas.microsoft.com/office/drawing/2014/main" id="{083B9E7F-3814-7814-4B2A-E233B8C0D7D1}"/>
              </a:ext>
            </a:extLst>
          </p:cNvPr>
          <p:cNvPicPr>
            <a:picLocks noChangeAspect="1"/>
          </p:cNvPicPr>
          <p:nvPr/>
        </p:nvPicPr>
        <p:blipFill>
          <a:blip r:embed="rId7"/>
          <a:stretch>
            <a:fillRect/>
          </a:stretch>
        </p:blipFill>
        <p:spPr>
          <a:xfrm>
            <a:off x="7232292" y="4678947"/>
            <a:ext cx="4949032" cy="1548817"/>
          </a:xfrm>
          <a:prstGeom prst="rect">
            <a:avLst/>
          </a:prstGeom>
        </p:spPr>
      </p:pic>
      <p:sp>
        <p:nvSpPr>
          <p:cNvPr id="6" name="Footer Placeholder 4">
            <a:extLst>
              <a:ext uri="{FF2B5EF4-FFF2-40B4-BE49-F238E27FC236}">
                <a16:creationId xmlns:a16="http://schemas.microsoft.com/office/drawing/2014/main" id="{FF67758A-0ABC-36BA-C90F-A1020526AD0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831928673"/>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a:solidFill>
                  <a:srgbClr val="243A5E"/>
                </a:solidFill>
                <a:cs typeface="Segoe UI"/>
              </a:rPr>
              <a:t>Admin – Environment Request</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9" y="1408114"/>
            <a:ext cx="6262434" cy="4819650"/>
          </a:xfrm>
        </p:spPr>
        <p:txBody>
          <a:bodyPr vert="horz" lIns="0" tIns="0" rIns="0" bIns="0" rtlCol="0" anchor="t">
            <a:normAutofit lnSpcReduction="1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a:solidFill>
                  <a:srgbClr val="3C3C41"/>
                </a:solidFill>
                <a:latin typeface="Segoe UI"/>
                <a:cs typeface="Segoe UI"/>
              </a:rPr>
              <a:t>Used by admins to view and approve/reject requests to create or modify Power Platform Environments </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a:solidFill>
                  <a:srgbClr val="3C3C41"/>
                </a:solidFill>
                <a:latin typeface="Segoe UI"/>
                <a:cs typeface="Segoe UI"/>
              </a:rPr>
              <a:t>Supports environment creation requests changes to DLP policies are logged in the DLP Policy Change Request table.</a:t>
            </a: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endParaRPr lang="en-US" sz="2000">
              <a:solidFill>
                <a:srgbClr val="3C3C41"/>
              </a:solidFill>
              <a:latin typeface="Segoe UI"/>
              <a:cs typeface="Segoe UI"/>
            </a:endParaRPr>
          </a:p>
          <a:p>
            <a:pPr marL="0" marR="0" lvl="0" indent="0" algn="l" defTabSz="914192" rtl="0" eaLnBrk="1" fontAlgn="auto" latinLnBrk="0" hangingPunct="1">
              <a:lnSpc>
                <a:spcPct val="100000"/>
              </a:lnSpc>
              <a:spcBef>
                <a:spcPts val="600"/>
              </a:spcBef>
              <a:buClrTx/>
              <a:buSzPct val="90000"/>
              <a:buFont typeface="Wingdings" panose="05000000000000000000" pitchFamily="2" charset="2"/>
              <a:buNone/>
              <a:tabLst/>
              <a:defRPr/>
            </a:pPr>
            <a:r>
              <a:rPr lang="en-US" sz="2000">
                <a:solidFill>
                  <a:srgbClr val="3C3C41"/>
                </a:solidFill>
                <a:latin typeface="Segoe UI"/>
                <a:cs typeface="Segoe UI"/>
              </a:rPr>
              <a:t>Use this app to:</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800">
                <a:solidFill>
                  <a:srgbClr val="3C3C41"/>
                </a:solidFill>
                <a:latin typeface="Segoe UI"/>
                <a:cs typeface="Segoe UI"/>
              </a:rPr>
              <a:t>View all Environment </a:t>
            </a:r>
            <a:r>
              <a:rPr lang="en-FI" sz="1800">
                <a:solidFill>
                  <a:srgbClr val="3C3C41"/>
                </a:solidFill>
                <a:latin typeface="Segoe UI"/>
                <a:cs typeface="Segoe UI"/>
              </a:rPr>
              <a:t>c</a:t>
            </a:r>
            <a:r>
              <a:rPr lang="en-US" sz="1800" err="1">
                <a:solidFill>
                  <a:srgbClr val="3C3C41"/>
                </a:solidFill>
                <a:latin typeface="Segoe UI"/>
                <a:cs typeface="Segoe UI"/>
              </a:rPr>
              <a:t>reation</a:t>
            </a:r>
            <a:r>
              <a:rPr lang="en-US" sz="1800">
                <a:solidFill>
                  <a:srgbClr val="3C3C41"/>
                </a:solidFill>
                <a:latin typeface="Segoe UI"/>
                <a:cs typeface="Segoe UI"/>
              </a:rPr>
              <a:t> </a:t>
            </a:r>
            <a:r>
              <a:rPr lang="en-FI" sz="1800">
                <a:solidFill>
                  <a:srgbClr val="3C3C41"/>
                </a:solidFill>
                <a:latin typeface="Segoe UI"/>
                <a:cs typeface="Segoe UI"/>
              </a:rPr>
              <a:t>r</a:t>
            </a:r>
            <a:r>
              <a:rPr lang="en-US" sz="1800" err="1">
                <a:solidFill>
                  <a:srgbClr val="3C3C41"/>
                </a:solidFill>
                <a:latin typeface="Segoe UI"/>
                <a:cs typeface="Segoe UI"/>
              </a:rPr>
              <a:t>equests</a:t>
            </a:r>
            <a:r>
              <a:rPr lang="en-US" sz="1800">
                <a:solidFill>
                  <a:srgbClr val="3C3C41"/>
                </a:solidFill>
                <a:latin typeface="Segoe UI"/>
                <a:cs typeface="Segoe UI"/>
              </a:rPr>
              <a:t> in detail</a:t>
            </a: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800">
                <a:solidFill>
                  <a:srgbClr val="3C3C41"/>
                </a:solidFill>
                <a:latin typeface="Segoe UI"/>
                <a:cs typeface="Segoe UI"/>
              </a:rPr>
              <a:t>Approve or reject </a:t>
            </a:r>
            <a:r>
              <a:rPr lang="en-FI" sz="1800">
                <a:solidFill>
                  <a:srgbClr val="3C3C41"/>
                </a:solidFill>
                <a:latin typeface="Segoe UI"/>
                <a:cs typeface="Segoe UI"/>
              </a:rPr>
              <a:t>e</a:t>
            </a:r>
            <a:r>
              <a:rPr lang="en-US" sz="1800" err="1">
                <a:solidFill>
                  <a:srgbClr val="3C3C41"/>
                </a:solidFill>
                <a:latin typeface="Segoe UI"/>
                <a:cs typeface="Segoe UI"/>
              </a:rPr>
              <a:t>nvironment</a:t>
            </a:r>
            <a:r>
              <a:rPr lang="en-US" sz="1800">
                <a:solidFill>
                  <a:srgbClr val="3C3C41"/>
                </a:solidFill>
                <a:latin typeface="Segoe UI"/>
                <a:cs typeface="Segoe UI"/>
              </a:rPr>
              <a:t> </a:t>
            </a:r>
            <a:r>
              <a:rPr lang="en-FI" sz="1800">
                <a:solidFill>
                  <a:srgbClr val="3C3C41"/>
                </a:solidFill>
                <a:latin typeface="Segoe UI"/>
                <a:cs typeface="Segoe UI"/>
              </a:rPr>
              <a:t>c</a:t>
            </a:r>
            <a:r>
              <a:rPr lang="en-US" sz="1800" err="1">
                <a:solidFill>
                  <a:srgbClr val="3C3C41"/>
                </a:solidFill>
                <a:latin typeface="Segoe UI"/>
                <a:cs typeface="Segoe UI"/>
              </a:rPr>
              <a:t>reation</a:t>
            </a:r>
            <a:r>
              <a:rPr lang="en-US" sz="1800">
                <a:solidFill>
                  <a:srgbClr val="3C3C41"/>
                </a:solidFill>
                <a:latin typeface="Segoe UI"/>
                <a:cs typeface="Segoe UI"/>
              </a:rPr>
              <a:t> </a:t>
            </a:r>
            <a:r>
              <a:rPr lang="en-FI" sz="1800">
                <a:solidFill>
                  <a:srgbClr val="3C3C41"/>
                </a:solidFill>
                <a:latin typeface="Segoe UI"/>
                <a:cs typeface="Segoe UI"/>
              </a:rPr>
              <a:t>r</a:t>
            </a:r>
            <a:r>
              <a:rPr lang="en-US" sz="1800" err="1">
                <a:solidFill>
                  <a:srgbClr val="3C3C41"/>
                </a:solidFill>
                <a:latin typeface="Segoe UI"/>
                <a:cs typeface="Segoe UI"/>
              </a:rPr>
              <a:t>equests</a:t>
            </a:r>
            <a:endParaRPr lang="en-FI" sz="1800">
              <a:solidFill>
                <a:srgbClr val="3C3C41"/>
              </a:solidFill>
              <a:latin typeface="Segoe UI"/>
              <a:cs typeface="Segoe UI"/>
            </a:endParaRP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lang="en-US" sz="1800">
                <a:solidFill>
                  <a:srgbClr val="3C3C41"/>
                </a:solidFill>
                <a:latin typeface="Segoe UI"/>
                <a:cs typeface="Segoe UI"/>
              </a:rPr>
              <a:t>View if connectors will be blocked or restricted by existing or modified DLP Policies. Modifications made in the app will update those Policies.</a:t>
            </a:r>
            <a:endParaRPr lang="en-FI" sz="1800">
              <a:solidFill>
                <a:srgbClr val="3C3C41"/>
              </a:solidFill>
              <a:latin typeface="Segoe UI"/>
              <a:cs typeface="Segoe UI"/>
            </a:endParaRPr>
          </a:p>
          <a:p>
            <a:pPr marL="342900" indent="-342900" defTabSz="914192">
              <a:spcBef>
                <a:spcPts val="600"/>
              </a:spcBef>
              <a:buClrTx/>
              <a:buFont typeface="Arial" panose="020B0604020202020204" pitchFamily="34" charset="0"/>
              <a:buChar char="•"/>
              <a:defRPr/>
            </a:pPr>
            <a:r>
              <a:rPr lang="en-FI" sz="1800">
                <a:solidFill>
                  <a:srgbClr val="3C3C41"/>
                </a:solidFill>
                <a:latin typeface="Segoe UI"/>
                <a:cs typeface="Segoe UI"/>
              </a:rPr>
              <a:t>Define which DLP policies are visible to users for creating DLP policy change request</a:t>
            </a:r>
            <a:endParaRPr lang="en-US" sz="1800">
              <a:solidFill>
                <a:srgbClr val="3C3C41"/>
              </a:solidFill>
              <a:latin typeface="Segoe UI"/>
              <a:cs typeface="Segoe UI"/>
            </a:endParaRPr>
          </a:p>
          <a:p>
            <a:pPr marL="342900" marR="0" lvl="0" indent="-342900" algn="l" defTabSz="914192" rtl="0" eaLnBrk="1" fontAlgn="auto" latinLnBrk="0" hangingPunct="1">
              <a:lnSpc>
                <a:spcPct val="100000"/>
              </a:lnSpc>
              <a:spcBef>
                <a:spcPts val="600"/>
              </a:spcBef>
              <a:buClrTx/>
              <a:buSzPct val="90000"/>
              <a:buFont typeface="Arial" panose="020B0604020202020204" pitchFamily="34" charset="0"/>
              <a:buChar char="•"/>
              <a:tabLst/>
              <a:defRPr/>
            </a:pPr>
            <a:r>
              <a:rPr kumimoji="0" lang="en-FI" sz="1800" b="0" i="0" u="none" strike="noStrike" kern="1200" cap="none" spc="-49" normalizeH="0" baseline="0" noProof="0">
                <a:ln>
                  <a:noFill/>
                </a:ln>
                <a:solidFill>
                  <a:srgbClr val="3C3C41"/>
                </a:solidFill>
                <a:effectLst/>
                <a:uLnTx/>
                <a:uFillTx/>
                <a:latin typeface="Segoe UI"/>
                <a:ea typeface="+mn-ea"/>
                <a:cs typeface="Segoe UI"/>
              </a:rPr>
              <a:t>Approve or reject DLP policy change requests</a:t>
            </a:r>
            <a:endParaRPr kumimoji="0" lang="en-US" sz="1800" b="0" i="0" u="none" strike="noStrike" kern="1200" cap="none" spc="-49" normalizeH="0" baseline="0" noProof="0">
              <a:ln>
                <a:noFill/>
              </a:ln>
              <a:solidFill>
                <a:srgbClr val="3C3C41"/>
              </a:solidFill>
              <a:effectLst/>
              <a:uLnTx/>
              <a:uFillTx/>
              <a:latin typeface="Segoe UI"/>
              <a:ea typeface="+mn-ea"/>
              <a:cs typeface="Segoe UI"/>
            </a:endParaRPr>
          </a:p>
          <a:p>
            <a:pPr marL="0" indent="0">
              <a:spcBef>
                <a:spcPts val="0"/>
              </a:spcBef>
              <a:spcAft>
                <a:spcPts val="600"/>
              </a:spcAft>
              <a:buNone/>
            </a:pP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a:solidFill>
                  <a:schemeClr val="tx2">
                    <a:lumMod val="50000"/>
                  </a:schemeClr>
                </a:solidFill>
                <a:latin typeface="+mn-lt"/>
              </a:rPr>
              <a:t>Canvas App</a:t>
            </a:r>
            <a:endParaRPr lang="LID4096" sz="2000"/>
          </a:p>
        </p:txBody>
      </p:sp>
      <p:pic>
        <p:nvPicPr>
          <p:cNvPr id="16" name="Picture 15">
            <a:extLst>
              <a:ext uri="{FF2B5EF4-FFF2-40B4-BE49-F238E27FC236}">
                <a16:creationId xmlns:a16="http://schemas.microsoft.com/office/drawing/2014/main" id="{8F9FE656-E936-C82C-8B37-14601F353318}"/>
              </a:ext>
            </a:extLst>
          </p:cNvPr>
          <p:cNvPicPr>
            <a:picLocks noChangeAspect="1"/>
          </p:cNvPicPr>
          <p:nvPr/>
        </p:nvPicPr>
        <p:blipFill>
          <a:blip r:embed="rId5"/>
          <a:stretch>
            <a:fillRect/>
          </a:stretch>
        </p:blipFill>
        <p:spPr>
          <a:xfrm>
            <a:off x="7835730" y="320040"/>
            <a:ext cx="4306652" cy="2859282"/>
          </a:xfrm>
          <a:prstGeom prst="rect">
            <a:avLst/>
          </a:prstGeom>
        </p:spPr>
      </p:pic>
      <p:pic>
        <p:nvPicPr>
          <p:cNvPr id="22" name="Picture 21">
            <a:extLst>
              <a:ext uri="{FF2B5EF4-FFF2-40B4-BE49-F238E27FC236}">
                <a16:creationId xmlns:a16="http://schemas.microsoft.com/office/drawing/2014/main" id="{76AE42F6-ACEB-E188-795E-F99484F41077}"/>
              </a:ext>
            </a:extLst>
          </p:cNvPr>
          <p:cNvPicPr>
            <a:picLocks noChangeAspect="1"/>
          </p:cNvPicPr>
          <p:nvPr/>
        </p:nvPicPr>
        <p:blipFill>
          <a:blip r:embed="rId6"/>
          <a:stretch>
            <a:fillRect/>
          </a:stretch>
        </p:blipFill>
        <p:spPr>
          <a:xfrm>
            <a:off x="7270604" y="3179322"/>
            <a:ext cx="4345437" cy="1778091"/>
          </a:xfrm>
          <a:prstGeom prst="rect">
            <a:avLst/>
          </a:prstGeom>
        </p:spPr>
      </p:pic>
      <p:pic>
        <p:nvPicPr>
          <p:cNvPr id="20" name="Picture 19">
            <a:extLst>
              <a:ext uri="{FF2B5EF4-FFF2-40B4-BE49-F238E27FC236}">
                <a16:creationId xmlns:a16="http://schemas.microsoft.com/office/drawing/2014/main" id="{84FDB93A-5AFC-9C79-BD1B-DFC9F1C398A0}"/>
              </a:ext>
            </a:extLst>
          </p:cNvPr>
          <p:cNvPicPr>
            <a:picLocks noChangeAspect="1"/>
          </p:cNvPicPr>
          <p:nvPr/>
        </p:nvPicPr>
        <p:blipFill>
          <a:blip r:embed="rId7"/>
          <a:stretch>
            <a:fillRect/>
          </a:stretch>
        </p:blipFill>
        <p:spPr>
          <a:xfrm>
            <a:off x="7918230" y="4674808"/>
            <a:ext cx="4273770" cy="1778091"/>
          </a:xfrm>
          <a:prstGeom prst="rect">
            <a:avLst/>
          </a:prstGeom>
        </p:spPr>
      </p:pic>
      <p:sp>
        <p:nvSpPr>
          <p:cNvPr id="5" name="Footer Placeholder 4">
            <a:extLst>
              <a:ext uri="{FF2B5EF4-FFF2-40B4-BE49-F238E27FC236}">
                <a16:creationId xmlns:a16="http://schemas.microsoft.com/office/drawing/2014/main" id="{270772B2-E2CF-4F97-AE25-93E543EF39F4}"/>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914719712"/>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rgbClr val="243A5E"/>
                </a:solidFill>
              </a:rPr>
              <a:t>App Catalog</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4947720"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marR="0" lvl="0" indent="-310515" algn="l" defTabSz="914192" rtl="0" eaLnBrk="1" fontAlgn="auto" latinLnBrk="0" hangingPunct="1">
              <a:lnSpc>
                <a:spcPct val="100000"/>
              </a:lnSpc>
              <a:spcBef>
                <a:spcPts val="1200"/>
              </a:spcBef>
              <a:spcAft>
                <a:spcPts val="1200"/>
              </a:spcAft>
              <a:buClrTx/>
              <a:buSzPct val="90000"/>
              <a:buFont typeface="Wingdings" panose="05000000000000000000" pitchFamily="2" charset="2"/>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Helps give visibility to certain apps in the organization</a:t>
            </a:r>
            <a:endParaRPr lang="en-US">
              <a:ea typeface="+mn-ea"/>
            </a:endParaRPr>
          </a:p>
          <a:p>
            <a:pPr marL="310515" marR="0" lvl="0" indent="-310515" algn="l" defTabSz="914192" rtl="0" eaLnBrk="1" fontAlgn="auto" latinLnBrk="0" hangingPunct="1">
              <a:lnSpc>
                <a:spcPct val="100000"/>
              </a:lnSpc>
              <a:spcBef>
                <a:spcPts val="1200"/>
              </a:spcBef>
              <a:spcAft>
                <a:spcPts val="1200"/>
              </a:spcAft>
              <a:buClrTx/>
              <a:buSzPct val="90000"/>
              <a:buFont typeface="Wingdings" panose="05000000000000000000" pitchFamily="2" charset="2"/>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Admins can choose which apps to highlight in the app catalog if the app meets admin requirements and is meant to be shared broadly</a:t>
            </a:r>
            <a:r>
              <a:rPr lang="en-US" sz="2000" spc="-49">
                <a:solidFill>
                  <a:srgbClr val="3C3C41"/>
                </a:solidFill>
                <a:latin typeface="Segoe UI"/>
                <a:cs typeface="Segoe UI"/>
              </a:rPr>
              <a:t>.</a:t>
            </a:r>
            <a:endParaRPr lang="en-US" sz="2000" b="0" i="0" u="none" strike="noStrike" kern="1200" cap="none" spc="-49" normalizeH="0" baseline="0" noProof="0">
              <a:ln>
                <a:noFill/>
              </a:ln>
              <a:solidFill>
                <a:srgbClr val="3C3C41"/>
              </a:solidFill>
              <a:effectLst/>
              <a:uLnTx/>
              <a:uFillTx/>
              <a:latin typeface="Segoe UI"/>
              <a:cs typeface="Segoe UI"/>
            </a:endParaRPr>
          </a:p>
          <a:p>
            <a:pPr marL="310515" marR="0" lvl="0" indent="-310515" algn="l" defTabSz="914192" rtl="0" eaLnBrk="1" fontAlgn="auto" latinLnBrk="0" hangingPunct="1">
              <a:lnSpc>
                <a:spcPct val="100000"/>
              </a:lnSpc>
              <a:spcBef>
                <a:spcPts val="1200"/>
              </a:spcBef>
              <a:spcAft>
                <a:spcPts val="1200"/>
              </a:spcAft>
              <a:buClrTx/>
              <a:buSzPct val="90000"/>
              <a:buFont typeface="Wingdings" panose="05000000000000000000" pitchFamily="2" charset="2"/>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Segoe UI"/>
              </a:rPr>
              <a:t>To publish an app to the app catalog, follow the app auditing process in the Power Platform Admin View app</a:t>
            </a:r>
            <a:r>
              <a:rPr lang="en-US" sz="2000" spc="-49">
                <a:solidFill>
                  <a:srgbClr val="3C3C41"/>
                </a:solidFill>
                <a:latin typeface="Segoe UI"/>
                <a:cs typeface="Segoe UI"/>
              </a:rPr>
              <a:t>.</a:t>
            </a:r>
            <a:endParaRPr lang="en-US" sz="2000" b="0" i="0" u="none" strike="noStrike" kern="1200" cap="none" spc="-49" normalizeH="0" baseline="0" noProof="0">
              <a:ln>
                <a:noFill/>
              </a:ln>
              <a:solidFill>
                <a:srgbClr val="3C3C41"/>
              </a:solidFill>
              <a:effectLst/>
              <a:uLnTx/>
              <a:uFillTx/>
              <a:latin typeface="Segoe UI"/>
              <a:cs typeface="Segoe UI"/>
            </a:endParaRPr>
          </a:p>
          <a:p>
            <a:pPr marL="0" indent="0">
              <a:spcBef>
                <a:spcPts val="0"/>
              </a:spcBef>
              <a:spcAft>
                <a:spcPts val="600"/>
              </a:spcAft>
              <a:buNone/>
            </a:pP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GB" sz="2000">
                <a:solidFill>
                  <a:schemeClr val="tx2">
                    <a:lumMod val="50000"/>
                  </a:schemeClr>
                </a:solidFill>
                <a:latin typeface="+mn-lt"/>
              </a:rPr>
              <a:t>Canvas App</a:t>
            </a:r>
            <a:endParaRPr lang="LID4096" sz="2000"/>
          </a:p>
        </p:txBody>
      </p:sp>
      <p:pic>
        <p:nvPicPr>
          <p:cNvPr id="6" name="Picture 5">
            <a:extLst>
              <a:ext uri="{FF2B5EF4-FFF2-40B4-BE49-F238E27FC236}">
                <a16:creationId xmlns:a16="http://schemas.microsoft.com/office/drawing/2014/main" id="{23AC0A91-EDC4-481A-8BF4-4C69C922135C}"/>
              </a:ext>
            </a:extLst>
          </p:cNvPr>
          <p:cNvPicPr>
            <a:picLocks noChangeAspect="1"/>
          </p:cNvPicPr>
          <p:nvPr/>
        </p:nvPicPr>
        <p:blipFill>
          <a:blip r:embed="rId5"/>
          <a:stretch>
            <a:fillRect/>
          </a:stretch>
        </p:blipFill>
        <p:spPr>
          <a:xfrm>
            <a:off x="5937928" y="1408114"/>
            <a:ext cx="6008394" cy="3587552"/>
          </a:xfrm>
          <a:prstGeom prst="rect">
            <a:avLst/>
          </a:prstGeom>
        </p:spPr>
      </p:pic>
      <p:sp>
        <p:nvSpPr>
          <p:cNvPr id="5" name="Footer Placeholder 4">
            <a:extLst>
              <a:ext uri="{FF2B5EF4-FFF2-40B4-BE49-F238E27FC236}">
                <a16:creationId xmlns:a16="http://schemas.microsoft.com/office/drawing/2014/main" id="{77DC4D48-B32D-ACA2-92E8-37B4502A506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005704245"/>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rgbClr val="243A5E"/>
                </a:solidFill>
              </a:rPr>
              <a:t>Welcome Email</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968446"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marR="0" lvl="0" indent="-310515" algn="l" defTabSz="914192" rtl="0" eaLnBrk="1" fontAlgn="auto" latinLnBrk="0" hangingPunct="1">
              <a:lnSpc>
                <a:spcPct val="100000"/>
              </a:lnSpc>
              <a:spcBef>
                <a:spcPts val="1200"/>
              </a:spcBef>
              <a:spcAft>
                <a:spcPts val="1200"/>
              </a:spcAft>
              <a:buClrTx/>
              <a:buSzPct val="90000"/>
              <a:buFont typeface="Wingdings" panose="05000000000000000000" pitchFamily="2" charset="2"/>
              <a:buChar char=""/>
              <a:tabLst/>
              <a:defRPr/>
            </a:pPr>
            <a:r>
              <a:rPr lang="en-US" b="0" i="0" u="none" strike="noStrike" kern="1200" cap="none" spc="-49" normalizeH="0" baseline="0" noProof="0">
                <a:ln>
                  <a:noFill/>
                </a:ln>
                <a:solidFill>
                  <a:srgbClr val="3C3C41"/>
                </a:solidFill>
                <a:effectLst/>
                <a:uLnTx/>
                <a:uFillTx/>
                <a:latin typeface="Segoe UI"/>
                <a:cs typeface="Segoe UI"/>
              </a:rPr>
              <a:t>This flow sends an email to a user who created an app, flow, custom connector, or environment. </a:t>
            </a:r>
            <a:endParaRPr lang="en-FI" b="0" i="0" u="none" strike="noStrike" kern="1200" cap="none" spc="-49" normalizeH="0" baseline="0" noProof="0">
              <a:ln>
                <a:noFill/>
              </a:ln>
              <a:solidFill>
                <a:srgbClr val="3C3C41"/>
              </a:solidFill>
              <a:effectLst/>
              <a:uLnTx/>
              <a:uFillTx/>
              <a:latin typeface="Segoe UI"/>
              <a:cs typeface="Segoe UI"/>
            </a:endParaRPr>
          </a:p>
          <a:p>
            <a:pPr marL="310515" marR="0" lvl="0" indent="-310515" algn="l" defTabSz="914192" rtl="0" eaLnBrk="1" fontAlgn="auto" latinLnBrk="0" hangingPunct="1">
              <a:lnSpc>
                <a:spcPct val="100000"/>
              </a:lnSpc>
              <a:spcBef>
                <a:spcPts val="1200"/>
              </a:spcBef>
              <a:spcAft>
                <a:spcPts val="1200"/>
              </a:spcAft>
              <a:buClrTx/>
              <a:buSzPct val="90000"/>
              <a:buFont typeface="Wingdings" panose="05000000000000000000" pitchFamily="2" charset="2"/>
              <a:buChar char=""/>
              <a:tabLst/>
              <a:defRPr/>
            </a:pPr>
            <a:r>
              <a:rPr lang="en-FI" spc="-49">
                <a:solidFill>
                  <a:srgbClr val="3C3C41"/>
                </a:solidFill>
                <a:latin typeface="Segoe UI"/>
                <a:cs typeface="Segoe UI"/>
              </a:rPr>
              <a:t>G</a:t>
            </a:r>
            <a:r>
              <a:rPr lang="en-US" b="0" i="0" u="none" strike="noStrike" kern="1200" cap="none" spc="-49" normalizeH="0" baseline="0" noProof="0" err="1">
                <a:ln>
                  <a:noFill/>
                </a:ln>
                <a:solidFill>
                  <a:srgbClr val="3C3C41"/>
                </a:solidFill>
                <a:effectLst/>
                <a:uLnTx/>
                <a:uFillTx/>
                <a:latin typeface="Segoe UI"/>
                <a:cs typeface="Segoe UI"/>
              </a:rPr>
              <a:t>ets</a:t>
            </a:r>
            <a:r>
              <a:rPr lang="en-US" b="0" i="0" u="none" strike="noStrike" kern="1200" cap="none" spc="-49" normalizeH="0" baseline="0" noProof="0">
                <a:ln>
                  <a:noFill/>
                </a:ln>
                <a:solidFill>
                  <a:srgbClr val="3C3C41"/>
                </a:solidFill>
                <a:effectLst/>
                <a:uLnTx/>
                <a:uFillTx/>
                <a:latin typeface="Segoe UI"/>
                <a:cs typeface="Segoe UI"/>
              </a:rPr>
              <a:t> triggered when a new record is created in the maker table. </a:t>
            </a:r>
            <a:endParaRPr lang="en-FI" b="0" i="0" u="none" strike="noStrike" kern="1200" cap="none" spc="-49" normalizeH="0" baseline="0" noProof="0">
              <a:ln>
                <a:noFill/>
              </a:ln>
              <a:solidFill>
                <a:srgbClr val="3C3C41"/>
              </a:solidFill>
              <a:effectLst/>
              <a:uLnTx/>
              <a:uFillTx/>
              <a:latin typeface="Segoe UI"/>
              <a:cs typeface="Segoe UI"/>
            </a:endParaRPr>
          </a:p>
          <a:p>
            <a:pPr marL="310515" marR="0" lvl="0" indent="-310515" algn="l" defTabSz="914192" rtl="0" eaLnBrk="1" fontAlgn="auto" latinLnBrk="0" hangingPunct="1">
              <a:lnSpc>
                <a:spcPct val="100000"/>
              </a:lnSpc>
              <a:spcBef>
                <a:spcPts val="1200"/>
              </a:spcBef>
              <a:spcAft>
                <a:spcPts val="1200"/>
              </a:spcAft>
              <a:buClrTx/>
              <a:buSzPct val="90000"/>
              <a:buFont typeface="Wingdings" panose="05000000000000000000" pitchFamily="2" charset="2"/>
              <a:buChar char=""/>
              <a:tabLst/>
              <a:defRPr/>
            </a:pPr>
            <a:r>
              <a:rPr lang="en-US" b="0" i="0" u="none" strike="noStrike" kern="1200" cap="none" spc="-49" normalizeH="0" baseline="0" noProof="0">
                <a:ln>
                  <a:noFill/>
                </a:ln>
                <a:solidFill>
                  <a:srgbClr val="3C3C41"/>
                </a:solidFill>
                <a:effectLst/>
                <a:uLnTx/>
                <a:uFillTx/>
                <a:latin typeface="Segoe UI"/>
                <a:cs typeface="Segoe UI"/>
              </a:rPr>
              <a:t>You can customize the email sent out by the flow.</a:t>
            </a:r>
          </a:p>
          <a:p>
            <a:pPr marL="0" indent="0">
              <a:spcBef>
                <a:spcPts val="0"/>
              </a:spcBef>
              <a:spcAft>
                <a:spcPts val="600"/>
              </a:spcAft>
              <a:buNone/>
            </a:pPr>
            <a:endParaRPr lang="en-US" sz="180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endParaRPr lang="LID4096" sz="2000"/>
          </a:p>
        </p:txBody>
      </p:sp>
      <p:pic>
        <p:nvPicPr>
          <p:cNvPr id="7" name="Picture 6">
            <a:extLst>
              <a:ext uri="{FF2B5EF4-FFF2-40B4-BE49-F238E27FC236}">
                <a16:creationId xmlns:a16="http://schemas.microsoft.com/office/drawing/2014/main" id="{84FE7815-6563-3D42-DD8C-2F3F6BD3221B}"/>
              </a:ext>
            </a:extLst>
          </p:cNvPr>
          <p:cNvPicPr>
            <a:picLocks noChangeAspect="1"/>
          </p:cNvPicPr>
          <p:nvPr/>
        </p:nvPicPr>
        <p:blipFill>
          <a:blip r:embed="rId5"/>
          <a:stretch>
            <a:fillRect/>
          </a:stretch>
        </p:blipFill>
        <p:spPr>
          <a:xfrm>
            <a:off x="7049902" y="1408114"/>
            <a:ext cx="4946093" cy="5013951"/>
          </a:xfrm>
          <a:prstGeom prst="rect">
            <a:avLst/>
          </a:prstGeom>
        </p:spPr>
      </p:pic>
      <p:sp>
        <p:nvSpPr>
          <p:cNvPr id="11" name="Text Placeholder 11">
            <a:extLst>
              <a:ext uri="{FF2B5EF4-FFF2-40B4-BE49-F238E27FC236}">
                <a16:creationId xmlns:a16="http://schemas.microsoft.com/office/drawing/2014/main" id="{6D1A49CA-ADFF-1652-99FE-2B87315D1C4D}"/>
              </a:ext>
            </a:extLst>
          </p:cNvPr>
          <p:cNvSpPr txBox="1">
            <a:spLocks/>
          </p:cNvSpPr>
          <p:nvPr/>
        </p:nvSpPr>
        <p:spPr>
          <a:xfrm>
            <a:off x="655637" y="781705"/>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FI" sz="2000">
                <a:solidFill>
                  <a:schemeClr val="tx2">
                    <a:lumMod val="50000"/>
                  </a:schemeClr>
                </a:solidFill>
                <a:latin typeface="+mn-lt"/>
              </a:rPr>
              <a:t>Cloud Flow</a:t>
            </a:r>
            <a:endParaRPr lang="LID4096" sz="2000"/>
          </a:p>
        </p:txBody>
      </p:sp>
      <p:sp>
        <p:nvSpPr>
          <p:cNvPr id="5" name="Footer Placeholder 4">
            <a:extLst>
              <a:ext uri="{FF2B5EF4-FFF2-40B4-BE49-F238E27FC236}">
                <a16:creationId xmlns:a16="http://schemas.microsoft.com/office/drawing/2014/main" id="{EAEDD1CF-2689-442F-0FAC-52889E2B52B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151083639"/>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US" dirty="0">
                <a:solidFill>
                  <a:srgbClr val="243A5E"/>
                </a:solidFill>
                <a:cs typeface="Segoe UI"/>
              </a:rPr>
              <a:t>Get</a:t>
            </a:r>
            <a:r>
              <a:rPr lang="en-US" sz="3200" dirty="0">
                <a:solidFill>
                  <a:srgbClr val="243A5E"/>
                </a:solidFill>
                <a:cs typeface="Segoe UI"/>
              </a:rPr>
              <a:t> Power Apps and Flow events from Office 365 Audit Log</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9" y="1408114"/>
            <a:ext cx="5440362"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Fetch following Power Platform events from Office 365 Audit Log (Microsoft Purview)</a:t>
            </a:r>
          </a:p>
          <a:p>
            <a:pPr defTabSz="914192">
              <a:spcBef>
                <a:spcPts val="600"/>
              </a:spcBef>
              <a:buClrTx/>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Launch App</a:t>
            </a:r>
          </a:p>
          <a:p>
            <a:pPr defTabSz="914192">
              <a:spcBef>
                <a:spcPts val="600"/>
              </a:spcBef>
              <a:buClrTx/>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Delete App</a:t>
            </a:r>
          </a:p>
          <a:p>
            <a:pPr defTabSz="914192">
              <a:spcBef>
                <a:spcPts val="600"/>
              </a:spcBef>
              <a:buClrTx/>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Delete Flow</a:t>
            </a: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2000" b="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Launch App events are stored in </a:t>
            </a:r>
            <a:r>
              <a:rPr kumimoji="0" lang="en-US" sz="2000" b="0" i="0" u="none" strike="noStrike" kern="1200" cap="none" spc="-49" normalizeH="0" baseline="0" noProof="0" dirty="0" err="1">
                <a:ln>
                  <a:noFill/>
                </a:ln>
                <a:solidFill>
                  <a:srgbClr val="3C3C41"/>
                </a:solidFill>
                <a:effectLst/>
                <a:uLnTx/>
                <a:uFillTx/>
                <a:latin typeface="Segoe UI"/>
                <a:ea typeface="+mn-ea"/>
                <a:cs typeface="Segoe UI"/>
              </a:rPr>
              <a:t>CoE</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 </a:t>
            </a:r>
            <a:r>
              <a:rPr kumimoji="0" lang="en-US" sz="2000" b="0" i="0" u="none" strike="noStrike" kern="1200" cap="none" spc="-49" normalizeH="0" baseline="0" noProof="0" dirty="0" err="1">
                <a:ln>
                  <a:noFill/>
                </a:ln>
                <a:solidFill>
                  <a:srgbClr val="3C3C41"/>
                </a:solidFill>
                <a:effectLst/>
                <a:uLnTx/>
                <a:uFillTx/>
                <a:latin typeface="Segoe UI"/>
                <a:ea typeface="+mn-ea"/>
                <a:cs typeface="Segoe UI"/>
              </a:rPr>
              <a:t>AuditLog</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 table and used in the Power BI reports for unique users, sessions and last launched info</a:t>
            </a:r>
          </a:p>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Segoe UI"/>
              </a:rPr>
              <a:t>Delete App/Flow events flag app or flow deleted and sets the deletion time in </a:t>
            </a:r>
            <a:r>
              <a:rPr kumimoji="0" lang="en-US" sz="2000" b="0" i="0" u="none" strike="noStrike" kern="1200" cap="none" spc="-49" normalizeH="0" baseline="0" noProof="0" dirty="0" err="1">
                <a:ln>
                  <a:noFill/>
                </a:ln>
                <a:solidFill>
                  <a:srgbClr val="3C3C41"/>
                </a:solidFill>
                <a:effectLst/>
                <a:uLnTx/>
                <a:uFillTx/>
                <a:latin typeface="Segoe UI"/>
                <a:ea typeface="+mn-ea"/>
                <a:cs typeface="Segoe UI"/>
              </a:rPr>
              <a:t>CoE</a:t>
            </a:r>
            <a:r>
              <a:rPr kumimoji="0" lang="en-US" sz="2000" b="0" i="0" u="none" strike="noStrike" kern="1200" cap="none" spc="-49" normalizeH="0" baseline="0" noProof="0" dirty="0">
                <a:ln>
                  <a:noFill/>
                </a:ln>
                <a:solidFill>
                  <a:srgbClr val="3C3C41"/>
                </a:solidFill>
                <a:effectLst/>
                <a:uLnTx/>
                <a:uFillTx/>
                <a:latin typeface="Segoe UI"/>
                <a:ea typeface="+mn-ea"/>
                <a:cs typeface="Segoe UI"/>
              </a:rPr>
              <a:t> PowerApps and Flows tables</a:t>
            </a:r>
          </a:p>
          <a:p>
            <a:pPr marL="0" indent="0">
              <a:spcBef>
                <a:spcPts val="0"/>
              </a:spcBef>
              <a:spcAft>
                <a:spcPts val="600"/>
              </a:spcAft>
              <a:buNone/>
            </a:pPr>
            <a:endParaRPr lang="en-US" sz="1800" dirty="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191919">
                    <a:lumMod val="50000"/>
                  </a:srgbClr>
                </a:solidFill>
                <a:effectLst/>
                <a:uLnTx/>
                <a:uFillTx/>
                <a:latin typeface="Segoe UI"/>
                <a:ea typeface="+mn-ea"/>
                <a:cs typeface="+mn-cs"/>
              </a:rPr>
              <a:t>Audit Log</a:t>
            </a: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9CE952BF-C91A-EF46-032E-641223291D9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6" name="Picture 5">
            <a:extLst>
              <a:ext uri="{FF2B5EF4-FFF2-40B4-BE49-F238E27FC236}">
                <a16:creationId xmlns:a16="http://schemas.microsoft.com/office/drawing/2014/main" id="{4723AF56-0BA5-820C-0AD2-41AC4B612738}"/>
              </a:ext>
            </a:extLst>
          </p:cNvPr>
          <p:cNvPicPr>
            <a:picLocks noChangeAspect="1"/>
          </p:cNvPicPr>
          <p:nvPr/>
        </p:nvPicPr>
        <p:blipFill>
          <a:blip r:embed="rId5"/>
          <a:stretch>
            <a:fillRect/>
          </a:stretch>
        </p:blipFill>
        <p:spPr>
          <a:xfrm>
            <a:off x="6363127" y="1559802"/>
            <a:ext cx="5671856" cy="4018962"/>
          </a:xfrm>
          <a:prstGeom prst="rect">
            <a:avLst/>
          </a:prstGeom>
          <a:ln>
            <a:noFill/>
          </a:ln>
          <a:effectLst>
            <a:outerShdw blurRad="292100" dist="139700" dir="2700000" algn="tl" rotWithShape="0">
              <a:srgbClr val="333333">
                <a:alpha val="65000"/>
              </a:srgbClr>
            </a:outerShdw>
          </a:effectLst>
        </p:spPr>
      </p:pic>
      <p:sp>
        <p:nvSpPr>
          <p:cNvPr id="7" name="Rectangle 6">
            <a:extLst>
              <a:ext uri="{FF2B5EF4-FFF2-40B4-BE49-F238E27FC236}">
                <a16:creationId xmlns:a16="http://schemas.microsoft.com/office/drawing/2014/main" id="{B24A83B8-8D39-5505-869F-FAD5677954EE}"/>
              </a:ext>
            </a:extLst>
          </p:cNvPr>
          <p:cNvSpPr/>
          <p:nvPr/>
        </p:nvSpPr>
        <p:spPr bwMode="auto">
          <a:xfrm>
            <a:off x="8741338" y="1560262"/>
            <a:ext cx="1543025" cy="4018962"/>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FI"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758667512"/>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Power Platform is Designed For Everyone</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a:xfrm>
            <a:off x="655637" y="786383"/>
            <a:ext cx="11536363" cy="621731"/>
          </a:xfrm>
        </p:spPr>
        <p:txBody>
          <a:bodyPr>
            <a:normAutofit/>
          </a:bodyPr>
          <a:lstStyle/>
          <a:p>
            <a:pPr lvl="1"/>
            <a:r>
              <a:rPr lang="en-US"/>
              <a:t>Low-code gives rise to more developers</a:t>
            </a:r>
          </a:p>
        </p:txBody>
      </p:sp>
      <p:sp>
        <p:nvSpPr>
          <p:cNvPr id="4" name="people_12" title="Icon of three people">
            <a:extLst>
              <a:ext uri="{FF2B5EF4-FFF2-40B4-BE49-F238E27FC236}">
                <a16:creationId xmlns:a16="http://schemas.microsoft.com/office/drawing/2014/main" id="{B93EE18B-DEC6-4721-B873-E0AD570028AA}"/>
              </a:ext>
            </a:extLst>
          </p:cNvPr>
          <p:cNvSpPr>
            <a:spLocks noChangeAspect="1" noEditPoints="1"/>
          </p:cNvSpPr>
          <p:nvPr/>
        </p:nvSpPr>
        <p:spPr bwMode="auto">
          <a:xfrm>
            <a:off x="3331849" y="1919040"/>
            <a:ext cx="744354" cy="63506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a:solidFill>
                <a:srgbClr val="000000"/>
              </a:solidFill>
              <a:latin typeface="Segoe UI"/>
            </a:endParaRPr>
          </a:p>
        </p:txBody>
      </p:sp>
      <p:grpSp>
        <p:nvGrpSpPr>
          <p:cNvPr id="5" name="Group 4">
            <a:extLst>
              <a:ext uri="{FF2B5EF4-FFF2-40B4-BE49-F238E27FC236}">
                <a16:creationId xmlns:a16="http://schemas.microsoft.com/office/drawing/2014/main" id="{808B47E9-2BAD-4999-B4AB-71553B5C6406}"/>
              </a:ext>
            </a:extLst>
          </p:cNvPr>
          <p:cNvGrpSpPr/>
          <p:nvPr/>
        </p:nvGrpSpPr>
        <p:grpSpPr>
          <a:xfrm>
            <a:off x="3421451" y="3462774"/>
            <a:ext cx="565151" cy="695797"/>
            <a:chOff x="1672226" y="3323226"/>
            <a:chExt cx="252206" cy="310508"/>
          </a:xfrm>
        </p:grpSpPr>
        <p:sp>
          <p:nvSpPr>
            <p:cNvPr id="6" name="Freeform: Shape 5">
              <a:extLst>
                <a:ext uri="{FF2B5EF4-FFF2-40B4-BE49-F238E27FC236}">
                  <a16:creationId xmlns:a16="http://schemas.microsoft.com/office/drawing/2014/main" id="{BA0E5972-CA03-434B-915C-C3782D83BDCE}"/>
                </a:ext>
              </a:extLst>
            </p:cNvPr>
            <p:cNvSpPr/>
            <p:nvPr/>
          </p:nvSpPr>
          <p:spPr>
            <a:xfrm>
              <a:off x="1676782" y="3460379"/>
              <a:ext cx="247650" cy="142875"/>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7" name="Freeform: Shape 6">
              <a:extLst>
                <a:ext uri="{FF2B5EF4-FFF2-40B4-BE49-F238E27FC236}">
                  <a16:creationId xmlns:a16="http://schemas.microsoft.com/office/drawing/2014/main" id="{FACFFC2D-5CFD-42F0-A8CD-BAE818C47E3C}"/>
                </a:ext>
              </a:extLst>
            </p:cNvPr>
            <p:cNvSpPr/>
            <p:nvPr/>
          </p:nvSpPr>
          <p:spPr>
            <a:xfrm>
              <a:off x="1719844" y="3515624"/>
              <a:ext cx="161925" cy="95250"/>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8" name="Freeform: Shape 7">
              <a:extLst>
                <a:ext uri="{FF2B5EF4-FFF2-40B4-BE49-F238E27FC236}">
                  <a16:creationId xmlns:a16="http://schemas.microsoft.com/office/drawing/2014/main" id="{14D9B4B3-8FCB-4B3B-B3FE-8FA75A20F73D}"/>
                </a:ext>
              </a:extLst>
            </p:cNvPr>
            <p:cNvSpPr/>
            <p:nvPr/>
          </p:nvSpPr>
          <p:spPr>
            <a:xfrm>
              <a:off x="1691269" y="3624209"/>
              <a:ext cx="219075"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9" name="Freeform: Shape 8">
              <a:extLst>
                <a:ext uri="{FF2B5EF4-FFF2-40B4-BE49-F238E27FC236}">
                  <a16:creationId xmlns:a16="http://schemas.microsoft.com/office/drawing/2014/main" id="{E6D1D959-DF7A-47B3-8959-88FBB7CB93C2}"/>
                </a:ext>
              </a:extLst>
            </p:cNvPr>
            <p:cNvSpPr/>
            <p:nvPr/>
          </p:nvSpPr>
          <p:spPr>
            <a:xfrm>
              <a:off x="1749371" y="3341316"/>
              <a:ext cx="104775" cy="104775"/>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10" name="Freeform: Shape 9">
              <a:extLst>
                <a:ext uri="{FF2B5EF4-FFF2-40B4-BE49-F238E27FC236}">
                  <a16:creationId xmlns:a16="http://schemas.microsoft.com/office/drawing/2014/main" id="{73F17FA7-4964-4F34-A59E-3253C47F67F9}"/>
                </a:ext>
              </a:extLst>
            </p:cNvPr>
            <p:cNvSpPr/>
            <p:nvPr/>
          </p:nvSpPr>
          <p:spPr>
            <a:xfrm>
              <a:off x="1672226" y="3323226"/>
              <a:ext cx="9525" cy="9525"/>
            </a:xfrm>
            <a:custGeom>
              <a:avLst/>
              <a:gdLst/>
              <a:ahLst/>
              <a:cxnLst/>
              <a:rect l="l" t="t" r="r" b="b"/>
              <a:pathLst>
                <a:path w="9525" h="9525"/>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11" name="Freeform: Shape 10">
              <a:extLst>
                <a:ext uri="{FF2B5EF4-FFF2-40B4-BE49-F238E27FC236}">
                  <a16:creationId xmlns:a16="http://schemas.microsoft.com/office/drawing/2014/main" id="{91572D1E-97C2-45F0-8771-B32FDA11B5E6}"/>
                </a:ext>
              </a:extLst>
            </p:cNvPr>
            <p:cNvSpPr/>
            <p:nvPr/>
          </p:nvSpPr>
          <p:spPr>
            <a:xfrm>
              <a:off x="1672430" y="3323430"/>
              <a:ext cx="9525" cy="9525"/>
            </a:xfrm>
            <a:custGeom>
              <a:avLst/>
              <a:gdLst/>
              <a:ahLst/>
              <a:cxnLst/>
              <a:rect l="l" t="t" r="r" b="b"/>
              <a:pathLst>
                <a:path w="9525" h="9525"/>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13" name="Freeform: Shape 12">
              <a:extLst>
                <a:ext uri="{FF2B5EF4-FFF2-40B4-BE49-F238E27FC236}">
                  <a16:creationId xmlns:a16="http://schemas.microsoft.com/office/drawing/2014/main" id="{EEDD2B2B-B046-4A09-9929-4E15766B9940}"/>
                </a:ext>
              </a:extLst>
            </p:cNvPr>
            <p:cNvSpPr/>
            <p:nvPr/>
          </p:nvSpPr>
          <p:spPr>
            <a:xfrm>
              <a:off x="1672226" y="3323226"/>
              <a:ext cx="9525" cy="9525"/>
            </a:xfrm>
            <a:custGeom>
              <a:avLst/>
              <a:gdLst/>
              <a:ahLst/>
              <a:cxnLst/>
              <a:rect l="l" t="t" r="r" b="b"/>
              <a:pathLst>
                <a:path w="9525" h="9525"/>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grpSp>
      <p:grpSp>
        <p:nvGrpSpPr>
          <p:cNvPr id="14" name="Group 13">
            <a:extLst>
              <a:ext uri="{FF2B5EF4-FFF2-40B4-BE49-F238E27FC236}">
                <a16:creationId xmlns:a16="http://schemas.microsoft.com/office/drawing/2014/main" id="{49B8A2F7-078D-46E7-AB38-0C575B8D2B47}"/>
              </a:ext>
            </a:extLst>
          </p:cNvPr>
          <p:cNvGrpSpPr/>
          <p:nvPr/>
        </p:nvGrpSpPr>
        <p:grpSpPr>
          <a:xfrm>
            <a:off x="3321015" y="5067240"/>
            <a:ext cx="766022" cy="441162"/>
            <a:chOff x="8500699" y="3331798"/>
            <a:chExt cx="545783" cy="314325"/>
          </a:xfrm>
        </p:grpSpPr>
        <p:sp>
          <p:nvSpPr>
            <p:cNvPr id="15" name="Freeform: Shape 14">
              <a:extLst>
                <a:ext uri="{FF2B5EF4-FFF2-40B4-BE49-F238E27FC236}">
                  <a16:creationId xmlns:a16="http://schemas.microsoft.com/office/drawing/2014/main" id="{9B75C4FF-825F-454E-A105-B157E99A8FE2}"/>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16" name="Freeform: Shape 15">
              <a:extLst>
                <a:ext uri="{FF2B5EF4-FFF2-40B4-BE49-F238E27FC236}">
                  <a16:creationId xmlns:a16="http://schemas.microsoft.com/office/drawing/2014/main" id="{B4DE9CE0-BAC8-48F5-B516-9B32DD289546}"/>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17" name="Freeform: Shape 16">
              <a:extLst>
                <a:ext uri="{FF2B5EF4-FFF2-40B4-BE49-F238E27FC236}">
                  <a16:creationId xmlns:a16="http://schemas.microsoft.com/office/drawing/2014/main" id="{964DB0D2-6016-4F0F-A0FD-B31F816111A1}"/>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18" name="Freeform: Shape 17">
              <a:extLst>
                <a:ext uri="{FF2B5EF4-FFF2-40B4-BE49-F238E27FC236}">
                  <a16:creationId xmlns:a16="http://schemas.microsoft.com/office/drawing/2014/main" id="{257C1C03-95D7-49E9-84F6-0790F9D734E7}"/>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sp>
          <p:nvSpPr>
            <p:cNvPr id="19" name="Freeform: Shape 18">
              <a:extLst>
                <a:ext uri="{FF2B5EF4-FFF2-40B4-BE49-F238E27FC236}">
                  <a16:creationId xmlns:a16="http://schemas.microsoft.com/office/drawing/2014/main" id="{AA0A0988-4AD2-41C1-B459-18E5668B8DEC}"/>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4">
                <a:defRPr/>
              </a:pPr>
              <a:endParaRPr lang="en-US" sz="900">
                <a:gradFill>
                  <a:gsLst>
                    <a:gs pos="0">
                      <a:srgbClr val="505050"/>
                    </a:gs>
                    <a:gs pos="100000">
                      <a:srgbClr val="505050"/>
                    </a:gs>
                  </a:gsLst>
                  <a:lin ang="5400000" scaled="1"/>
                </a:gradFill>
                <a:latin typeface="Segoe UI"/>
              </a:endParaRPr>
            </a:p>
          </p:txBody>
        </p:sp>
      </p:grpSp>
      <p:sp>
        <p:nvSpPr>
          <p:cNvPr id="20" name="TextBox 19">
            <a:extLst>
              <a:ext uri="{FF2B5EF4-FFF2-40B4-BE49-F238E27FC236}">
                <a16:creationId xmlns:a16="http://schemas.microsoft.com/office/drawing/2014/main" id="{5B2D409D-97CD-49F0-91D7-12863D71042C}"/>
              </a:ext>
            </a:extLst>
          </p:cNvPr>
          <p:cNvSpPr txBox="1"/>
          <p:nvPr/>
        </p:nvSpPr>
        <p:spPr>
          <a:xfrm>
            <a:off x="4768241" y="3561337"/>
            <a:ext cx="3320242" cy="537779"/>
          </a:xfrm>
          <a:prstGeom prst="rect">
            <a:avLst/>
          </a:prstGeom>
          <a:noFill/>
        </p:spPr>
        <p:txBody>
          <a:bodyPr wrap="square" lIns="0" tIns="0" rIns="0" bIns="0" rtlCol="0" anchor="ctr">
            <a:noAutofit/>
          </a:bodyPr>
          <a:lstStyle/>
          <a:p>
            <a:pPr defTabSz="914191">
              <a:spcAft>
                <a:spcPts val="587"/>
              </a:spcAft>
              <a:defRPr/>
            </a:pPr>
            <a:r>
              <a:rPr lang="en-US" sz="2400">
                <a:solidFill>
                  <a:srgbClr val="000000"/>
                </a:solidFill>
                <a:latin typeface="Segoe UI"/>
              </a:rPr>
              <a:t>Experienced Developers</a:t>
            </a:r>
          </a:p>
        </p:txBody>
      </p:sp>
      <p:sp>
        <p:nvSpPr>
          <p:cNvPr id="21" name="TextBox 20">
            <a:extLst>
              <a:ext uri="{FF2B5EF4-FFF2-40B4-BE49-F238E27FC236}">
                <a16:creationId xmlns:a16="http://schemas.microsoft.com/office/drawing/2014/main" id="{FA3A820B-4E96-4E82-B089-AD093D5AAB55}"/>
              </a:ext>
            </a:extLst>
          </p:cNvPr>
          <p:cNvSpPr txBox="1"/>
          <p:nvPr/>
        </p:nvSpPr>
        <p:spPr>
          <a:xfrm>
            <a:off x="4768240" y="5053465"/>
            <a:ext cx="3320242" cy="537779"/>
          </a:xfrm>
          <a:prstGeom prst="rect">
            <a:avLst/>
          </a:prstGeom>
          <a:noFill/>
        </p:spPr>
        <p:txBody>
          <a:bodyPr wrap="square" lIns="0" tIns="0" rIns="0" bIns="0" rtlCol="0" anchor="ctr">
            <a:noAutofit/>
          </a:bodyPr>
          <a:lstStyle/>
          <a:p>
            <a:pPr defTabSz="914191">
              <a:spcAft>
                <a:spcPts val="587"/>
              </a:spcAft>
              <a:defRPr/>
            </a:pPr>
            <a:r>
              <a:rPr lang="en-US" sz="2400">
                <a:solidFill>
                  <a:srgbClr val="000000"/>
                </a:solidFill>
                <a:latin typeface="Segoe UI"/>
              </a:rPr>
              <a:t>IT/Admins</a:t>
            </a:r>
          </a:p>
        </p:txBody>
      </p:sp>
      <p:sp>
        <p:nvSpPr>
          <p:cNvPr id="22" name="TextBox 21">
            <a:extLst>
              <a:ext uri="{FF2B5EF4-FFF2-40B4-BE49-F238E27FC236}">
                <a16:creationId xmlns:a16="http://schemas.microsoft.com/office/drawing/2014/main" id="{C87FDB3F-6D37-4753-9939-044A432B81B9}"/>
              </a:ext>
            </a:extLst>
          </p:cNvPr>
          <p:cNvSpPr txBox="1"/>
          <p:nvPr/>
        </p:nvSpPr>
        <p:spPr>
          <a:xfrm>
            <a:off x="4768240" y="2069210"/>
            <a:ext cx="3320242" cy="537779"/>
          </a:xfrm>
          <a:prstGeom prst="rect">
            <a:avLst/>
          </a:prstGeom>
          <a:noFill/>
        </p:spPr>
        <p:txBody>
          <a:bodyPr wrap="square" lIns="0" tIns="0" rIns="0" bIns="0" rtlCol="0" anchor="ctr">
            <a:noAutofit/>
          </a:bodyPr>
          <a:lstStyle/>
          <a:p>
            <a:pPr defTabSz="914191">
              <a:spcAft>
                <a:spcPts val="587"/>
              </a:spcAft>
              <a:defRPr/>
            </a:pPr>
            <a:r>
              <a:rPr lang="en-US" sz="2400">
                <a:solidFill>
                  <a:srgbClr val="000000"/>
                </a:solidFill>
                <a:latin typeface="Segoe UI"/>
              </a:rPr>
              <a:t>End Users</a:t>
            </a:r>
          </a:p>
        </p:txBody>
      </p:sp>
      <p:cxnSp>
        <p:nvCxnSpPr>
          <p:cNvPr id="23" name="Straight Connector 22">
            <a:extLst>
              <a:ext uri="{FF2B5EF4-FFF2-40B4-BE49-F238E27FC236}">
                <a16:creationId xmlns:a16="http://schemas.microsoft.com/office/drawing/2014/main" id="{E8D25411-F352-4A1C-A7C2-25971191C6FA}"/>
              </a:ext>
            </a:extLst>
          </p:cNvPr>
          <p:cNvCxnSpPr/>
          <p:nvPr/>
        </p:nvCxnSpPr>
        <p:spPr>
          <a:xfrm>
            <a:off x="4768239" y="3084163"/>
            <a:ext cx="3320243"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4" name="Straight Connector 23">
            <a:extLst>
              <a:ext uri="{FF2B5EF4-FFF2-40B4-BE49-F238E27FC236}">
                <a16:creationId xmlns:a16="http://schemas.microsoft.com/office/drawing/2014/main" id="{0BF9EBFA-214E-4CE1-9F82-27328B9D4C0D}"/>
              </a:ext>
            </a:extLst>
          </p:cNvPr>
          <p:cNvCxnSpPr/>
          <p:nvPr/>
        </p:nvCxnSpPr>
        <p:spPr>
          <a:xfrm>
            <a:off x="4768239" y="4576289"/>
            <a:ext cx="3320243"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 name="Footer Placeholder 4">
            <a:extLst>
              <a:ext uri="{FF2B5EF4-FFF2-40B4-BE49-F238E27FC236}">
                <a16:creationId xmlns:a16="http://schemas.microsoft.com/office/drawing/2014/main" id="{00149F67-3CF8-A3C0-1436-4E1E12BDB30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546084662"/>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1351635" cy="461665"/>
          </a:xfrm>
        </p:spPr>
        <p:txBody>
          <a:bodyPr/>
          <a:lstStyle/>
          <a:p>
            <a:r>
              <a:rPr lang="fr-FR" dirty="0">
                <a:solidFill>
                  <a:srgbClr val="243A5E"/>
                </a:solidFill>
                <a:cs typeface="Segoe UI"/>
              </a:rPr>
              <a:t>Admin | Audit Logs | Office 365 Management API </a:t>
            </a:r>
            <a:r>
              <a:rPr lang="fr-FR" dirty="0" err="1">
                <a:solidFill>
                  <a:srgbClr val="243A5E"/>
                </a:solidFill>
                <a:cs typeface="Segoe UI"/>
              </a:rPr>
              <a:t>Subscription</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366472"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spcAft>
                <a:spcPts val="0"/>
              </a:spcAft>
              <a:buClrTx/>
              <a:buSzPct val="90000"/>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Segoe UI"/>
              </a:rPr>
              <a:t>This flow is used to start the Office 365 Management API subscription. This need to be done before API calls can be made from the </a:t>
            </a:r>
            <a:r>
              <a:rPr kumimoji="0" lang="en-US" sz="2000" i="0" u="none" strike="noStrike" kern="1200" cap="none" spc="-49" normalizeH="0" baseline="0" noProof="0" dirty="0" err="1">
                <a:ln>
                  <a:noFill/>
                </a:ln>
                <a:solidFill>
                  <a:srgbClr val="3C3C41"/>
                </a:solidFill>
                <a:effectLst/>
                <a:uLnTx/>
                <a:uFillTx/>
                <a:latin typeface="Segoe UI"/>
                <a:ea typeface="+mn-ea"/>
                <a:cs typeface="Segoe UI"/>
              </a:rPr>
              <a:t>CoE</a:t>
            </a:r>
            <a:r>
              <a:rPr kumimoji="0" lang="en-US" sz="2000" i="0" u="none" strike="noStrike" kern="1200" cap="none" spc="-49" normalizeH="0" baseline="0" noProof="0" dirty="0">
                <a:ln>
                  <a:noFill/>
                </a:ln>
                <a:solidFill>
                  <a:srgbClr val="3C3C41"/>
                </a:solidFill>
                <a:effectLst/>
                <a:uLnTx/>
                <a:uFillTx/>
                <a:latin typeface="Segoe UI"/>
                <a:ea typeface="+mn-ea"/>
                <a:cs typeface="Segoe UI"/>
              </a:rPr>
              <a:t> Kit flows</a:t>
            </a:r>
          </a:p>
          <a:p>
            <a:pPr marL="0" marR="0" lvl="0" indent="0" algn="l" defTabSz="914192" rtl="0" eaLnBrk="1" fontAlgn="auto" latinLnBrk="0" hangingPunct="1">
              <a:lnSpc>
                <a:spcPct val="100000"/>
              </a:lnSpc>
              <a:spcBef>
                <a:spcPts val="600"/>
              </a:spcBef>
              <a:spcAft>
                <a:spcPts val="0"/>
              </a:spcAft>
              <a:buClrTx/>
              <a:buSzPct val="90000"/>
              <a:buNone/>
              <a:tabLst/>
              <a:defRPr/>
            </a:pPr>
            <a:endParaRPr kumimoji="0" lang="en-FI" sz="200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Segoe UI"/>
              </a:rPr>
              <a:t>You can also stop and list existing subscription(s)</a:t>
            </a:r>
          </a:p>
          <a:p>
            <a:pPr marL="310515" indent="-310515">
              <a:spcBef>
                <a:spcPts val="0"/>
              </a:spcBef>
              <a:spcAft>
                <a:spcPts val="600"/>
              </a:spcAft>
            </a:pPr>
            <a:endParaRPr lang="en-US" sz="1800" dirty="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2000" b="0" i="0" u="none" strike="noStrike" kern="1200" cap="none" spc="0" normalizeH="0" baseline="0" noProof="0" dirty="0">
                <a:ln>
                  <a:noFill/>
                </a:ln>
                <a:solidFill>
                  <a:srgbClr val="191919">
                    <a:lumMod val="50000"/>
                  </a:srgbClr>
                </a:solidFill>
                <a:effectLst/>
                <a:uLnTx/>
                <a:uFillTx/>
                <a:latin typeface="Segoe UI"/>
                <a:ea typeface="+mn-ea"/>
                <a:cs typeface="+mn-cs"/>
              </a:rPr>
              <a:t>Cloud </a:t>
            </a: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Flow</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Footer Placeholder 4">
            <a:extLst>
              <a:ext uri="{FF2B5EF4-FFF2-40B4-BE49-F238E27FC236}">
                <a16:creationId xmlns:a16="http://schemas.microsoft.com/office/drawing/2014/main" id="{E33BFED7-A22E-373D-5B76-490F6BAE731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7" name="Picture 6">
            <a:extLst>
              <a:ext uri="{FF2B5EF4-FFF2-40B4-BE49-F238E27FC236}">
                <a16:creationId xmlns:a16="http://schemas.microsoft.com/office/drawing/2014/main" id="{B600D8C4-97B1-D6C7-A9E5-8F3688633145}"/>
              </a:ext>
            </a:extLst>
          </p:cNvPr>
          <p:cNvPicPr>
            <a:picLocks noChangeAspect="1"/>
          </p:cNvPicPr>
          <p:nvPr/>
        </p:nvPicPr>
        <p:blipFill>
          <a:blip r:embed="rId5"/>
          <a:stretch>
            <a:fillRect/>
          </a:stretch>
        </p:blipFill>
        <p:spPr>
          <a:xfrm>
            <a:off x="6169891" y="1408114"/>
            <a:ext cx="5748122" cy="3273382"/>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233397814"/>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1351635" cy="461665"/>
          </a:xfrm>
        </p:spPr>
        <p:txBody>
          <a:bodyPr/>
          <a:lstStyle/>
          <a:p>
            <a:r>
              <a:rPr lang="fr-FR" dirty="0">
                <a:solidFill>
                  <a:srgbClr val="243A5E"/>
                </a:solidFill>
                <a:cs typeface="Segoe UI"/>
              </a:rPr>
              <a:t>Admin | Audit Logs | Sync Audit Logs (V2)</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043198"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spcAft>
                <a:spcPts val="0"/>
              </a:spcAft>
              <a:buClrTx/>
              <a:buSzPct val="90000"/>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Segoe UI"/>
              </a:rPr>
              <a:t>Runs once per hour fetching all Audit Log events from past 60 minutes </a:t>
            </a:r>
            <a:endParaRPr kumimoji="0" lang="en-FI" sz="200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None/>
              <a:tabLst/>
              <a:defRPr/>
            </a:pPr>
            <a:endParaRPr kumimoji="0" lang="en-US" sz="200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Segoe UI"/>
              </a:rPr>
              <a:t>Office 365 Management API does not support filtering of events, so flow does the filtering and processes only the events used in </a:t>
            </a:r>
            <a:r>
              <a:rPr kumimoji="0" lang="en-US" sz="2000" i="0" u="none" strike="noStrike" kern="1200" cap="none" spc="-49" normalizeH="0" baseline="0" noProof="0" dirty="0" err="1">
                <a:ln>
                  <a:noFill/>
                </a:ln>
                <a:solidFill>
                  <a:srgbClr val="3C3C41"/>
                </a:solidFill>
                <a:effectLst/>
                <a:uLnTx/>
                <a:uFillTx/>
                <a:latin typeface="Segoe UI"/>
                <a:ea typeface="+mn-ea"/>
                <a:cs typeface="Segoe UI"/>
              </a:rPr>
              <a:t>CoE</a:t>
            </a:r>
            <a:r>
              <a:rPr kumimoji="0" lang="en-US" sz="2000" i="0" u="none" strike="noStrike" kern="1200" cap="none" spc="-49" normalizeH="0" baseline="0" noProof="0" dirty="0">
                <a:ln>
                  <a:noFill/>
                </a:ln>
                <a:solidFill>
                  <a:srgbClr val="3C3C41"/>
                </a:solidFill>
                <a:effectLst/>
                <a:uLnTx/>
                <a:uFillTx/>
                <a:latin typeface="Segoe UI"/>
                <a:ea typeface="+mn-ea"/>
                <a:cs typeface="Segoe UI"/>
              </a:rPr>
              <a:t> Kit</a:t>
            </a:r>
            <a:endParaRPr kumimoji="0" lang="en-FI" sz="200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None/>
              <a:tabLst/>
              <a:defRPr/>
            </a:pPr>
            <a:endParaRPr kumimoji="0" lang="en-US" sz="200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Segoe UI"/>
              </a:rPr>
              <a:t>Requires that Office 365 Management API subscription is configured</a:t>
            </a:r>
          </a:p>
          <a:p>
            <a:pPr marL="310515" indent="-310515">
              <a:spcBef>
                <a:spcPts val="0"/>
              </a:spcBef>
              <a:spcAft>
                <a:spcPts val="600"/>
              </a:spcAft>
            </a:pPr>
            <a:endParaRPr lang="en-US" sz="1800" dirty="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2000" b="0" i="0" u="none" strike="noStrike" kern="1200" cap="none" spc="0" normalizeH="0" baseline="0" noProof="0" dirty="0">
                <a:ln>
                  <a:noFill/>
                </a:ln>
                <a:solidFill>
                  <a:srgbClr val="191919">
                    <a:lumMod val="50000"/>
                  </a:srgbClr>
                </a:solidFill>
                <a:effectLst/>
                <a:uLnTx/>
                <a:uFillTx/>
                <a:latin typeface="Segoe UI"/>
                <a:ea typeface="+mn-ea"/>
                <a:cs typeface="+mn-cs"/>
              </a:rPr>
              <a:t>Cloud </a:t>
            </a: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Flow</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Footer Placeholder 4">
            <a:extLst>
              <a:ext uri="{FF2B5EF4-FFF2-40B4-BE49-F238E27FC236}">
                <a16:creationId xmlns:a16="http://schemas.microsoft.com/office/drawing/2014/main" id="{E33BFED7-A22E-373D-5B76-490F6BAE731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5" name="Picture 4">
            <a:extLst>
              <a:ext uri="{FF2B5EF4-FFF2-40B4-BE49-F238E27FC236}">
                <a16:creationId xmlns:a16="http://schemas.microsoft.com/office/drawing/2014/main" id="{2FAC122C-883E-2888-E86E-6E60DC1D37EC}"/>
              </a:ext>
            </a:extLst>
          </p:cNvPr>
          <p:cNvPicPr>
            <a:picLocks noChangeAspect="1"/>
          </p:cNvPicPr>
          <p:nvPr/>
        </p:nvPicPr>
        <p:blipFill>
          <a:blip r:embed="rId5"/>
          <a:stretch>
            <a:fillRect/>
          </a:stretch>
        </p:blipFill>
        <p:spPr>
          <a:xfrm>
            <a:off x="5853726" y="1312703"/>
            <a:ext cx="6153547" cy="3611572"/>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3711984423"/>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1351635" cy="461665"/>
          </a:xfrm>
        </p:spPr>
        <p:txBody>
          <a:bodyPr/>
          <a:lstStyle/>
          <a:p>
            <a:r>
              <a:rPr lang="en-US" sz="3000" dirty="0">
                <a:solidFill>
                  <a:srgbClr val="243A5E"/>
                </a:solidFill>
                <a:cs typeface="Segoe UI"/>
              </a:rPr>
              <a:t>Admin | Audit Logs | Load events from exported Audit Log CSV file</a:t>
            </a:r>
            <a:endParaRPr lang="en-US" sz="3000"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043198"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spcAft>
                <a:spcPts val="0"/>
              </a:spcAft>
              <a:buClrTx/>
              <a:buSzPct val="90000"/>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Segoe UI"/>
              </a:rPr>
              <a:t>Flow to import old Launch Power App events from the Office 365 Audit Log</a:t>
            </a:r>
            <a:endParaRPr kumimoji="0" lang="en-FI" sz="200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None/>
              <a:tabLst/>
              <a:defRPr/>
            </a:pPr>
            <a:endParaRPr kumimoji="0" lang="en-US" sz="2000" i="0" u="none" strike="noStrike" kern="1200" cap="none" spc="-49" normalizeH="0" baseline="0" noProof="0" dirty="0">
              <a:ln>
                <a:noFill/>
              </a:ln>
              <a:solidFill>
                <a:srgbClr val="3C3C41"/>
              </a:solidFill>
              <a:effectLst/>
              <a:uLnTx/>
              <a:uFillTx/>
              <a:latin typeface="Segoe UI"/>
              <a:ea typeface="+mn-ea"/>
              <a:cs typeface="Segoe UI"/>
            </a:endParaRPr>
          </a:p>
          <a:p>
            <a:pPr marL="0" marR="0" lvl="0" indent="0" algn="l" defTabSz="914192" rtl="0" eaLnBrk="1" fontAlgn="auto" latinLnBrk="0" hangingPunct="1">
              <a:lnSpc>
                <a:spcPct val="100000"/>
              </a:lnSpc>
              <a:spcBef>
                <a:spcPts val="600"/>
              </a:spcBef>
              <a:spcAft>
                <a:spcPts val="0"/>
              </a:spcAft>
              <a:buClrTx/>
              <a:buSzPct val="90000"/>
              <a:buNone/>
              <a:tabLst/>
              <a:defRPr/>
            </a:pPr>
            <a:r>
              <a:rPr kumimoji="0" lang="en-US" sz="2000" i="0" u="none" strike="noStrike" kern="1200" cap="none" spc="-49" normalizeH="0" baseline="0" noProof="0" dirty="0">
                <a:ln>
                  <a:noFill/>
                </a:ln>
                <a:solidFill>
                  <a:srgbClr val="3C3C41"/>
                </a:solidFill>
                <a:effectLst/>
                <a:uLnTx/>
                <a:uFillTx/>
                <a:latin typeface="Segoe UI"/>
                <a:ea typeface="+mn-ea"/>
                <a:cs typeface="Segoe UI"/>
              </a:rPr>
              <a:t>Audit Log events need to be exported from Office 365 Audit Log to CSV file which is then uploaded to this flow</a:t>
            </a:r>
          </a:p>
          <a:p>
            <a:pPr marL="310515" indent="-310515">
              <a:spcBef>
                <a:spcPts val="0"/>
              </a:spcBef>
              <a:spcAft>
                <a:spcPts val="600"/>
              </a:spcAft>
            </a:pPr>
            <a:endParaRPr lang="en-US" sz="1800" dirty="0"/>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FI" sz="2000" b="0" i="0" u="none" strike="noStrike" kern="1200" cap="none" spc="0" normalizeH="0" baseline="0" noProof="0" dirty="0">
                <a:ln>
                  <a:noFill/>
                </a:ln>
                <a:solidFill>
                  <a:srgbClr val="191919">
                    <a:lumMod val="50000"/>
                  </a:srgbClr>
                </a:solidFill>
                <a:effectLst/>
                <a:uLnTx/>
                <a:uFillTx/>
                <a:latin typeface="Segoe UI"/>
                <a:ea typeface="+mn-ea"/>
                <a:cs typeface="+mn-cs"/>
              </a:rPr>
              <a:t>Cloud </a:t>
            </a:r>
            <a:r>
              <a:rPr kumimoji="0" lang="en-GB" sz="2000" b="0" i="0" u="none" strike="noStrike" kern="1200" cap="none" spc="0" normalizeH="0" baseline="0" noProof="0" dirty="0">
                <a:ln>
                  <a:noFill/>
                </a:ln>
                <a:solidFill>
                  <a:srgbClr val="191919">
                    <a:lumMod val="50000"/>
                  </a:srgbClr>
                </a:solidFill>
                <a:effectLst/>
                <a:uLnTx/>
                <a:uFillTx/>
                <a:latin typeface="Segoe UI"/>
                <a:ea typeface="+mn-ea"/>
                <a:cs typeface="+mn-cs"/>
              </a:rPr>
              <a:t>Flow</a:t>
            </a:r>
            <a:endParaRPr kumimoji="0" lang="LID4096"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Footer Placeholder 4">
            <a:extLst>
              <a:ext uri="{FF2B5EF4-FFF2-40B4-BE49-F238E27FC236}">
                <a16:creationId xmlns:a16="http://schemas.microsoft.com/office/drawing/2014/main" id="{E33BFED7-A22E-373D-5B76-490F6BAE731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7" name="Picture 6">
            <a:extLst>
              <a:ext uri="{FF2B5EF4-FFF2-40B4-BE49-F238E27FC236}">
                <a16:creationId xmlns:a16="http://schemas.microsoft.com/office/drawing/2014/main" id="{BAADF3B7-4981-A4D4-B07D-67E5FDED241E}"/>
              </a:ext>
            </a:extLst>
          </p:cNvPr>
          <p:cNvPicPr>
            <a:picLocks noChangeAspect="1"/>
          </p:cNvPicPr>
          <p:nvPr/>
        </p:nvPicPr>
        <p:blipFill>
          <a:blip r:embed="rId5"/>
          <a:stretch>
            <a:fillRect/>
          </a:stretch>
        </p:blipFill>
        <p:spPr>
          <a:xfrm>
            <a:off x="6096000" y="1408114"/>
            <a:ext cx="5877004" cy="3171229"/>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926883286"/>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US">
                <a:solidFill>
                  <a:srgbClr val="243A5E"/>
                </a:solidFill>
                <a:cs typeface="Segoe UI"/>
              </a:rPr>
              <a:t>Environment Variables</a:t>
            </a:r>
            <a:endParaRPr lang="en-US" noProof="1">
              <a:solidFill>
                <a:srgbClr val="243A5E"/>
              </a:solidFill>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sp>
        <p:nvSpPr>
          <p:cNvPr id="2" name="Footer Placeholder 4">
            <a:extLst>
              <a:ext uri="{FF2B5EF4-FFF2-40B4-BE49-F238E27FC236}">
                <a16:creationId xmlns:a16="http://schemas.microsoft.com/office/drawing/2014/main" id="{72DBED7A-FC6F-155B-DA44-2D997E549CB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
        <p:nvSpPr>
          <p:cNvPr id="5" name="Text Placeholder 6">
            <a:extLst>
              <a:ext uri="{FF2B5EF4-FFF2-40B4-BE49-F238E27FC236}">
                <a16:creationId xmlns:a16="http://schemas.microsoft.com/office/drawing/2014/main" id="{326F790D-36BD-8408-A646-D2D29BBB520E}"/>
              </a:ext>
            </a:extLst>
          </p:cNvPr>
          <p:cNvSpPr txBox="1">
            <a:spLocks/>
          </p:cNvSpPr>
          <p:nvPr/>
        </p:nvSpPr>
        <p:spPr>
          <a:xfrm>
            <a:off x="455995" y="1577966"/>
            <a:ext cx="5593506" cy="4148656"/>
          </a:xfrm>
          <a:prstGeom prst="rect">
            <a:avLst/>
          </a:prstGeom>
        </p:spPr>
        <p:txBody>
          <a:bodyPr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1200"/>
              </a:spcAft>
              <a:defRPr/>
            </a:pPr>
            <a:endParaRPr lang="en-FI" sz="2000" dirty="0">
              <a:solidFill>
                <a:srgbClr val="3C3C41"/>
              </a:solidFill>
              <a:latin typeface="Segoe UI"/>
              <a:cs typeface="Segoe UI"/>
            </a:endParaRPr>
          </a:p>
        </p:txBody>
      </p:sp>
      <p:graphicFrame>
        <p:nvGraphicFramePr>
          <p:cNvPr id="6" name="Table 5">
            <a:extLst>
              <a:ext uri="{FF2B5EF4-FFF2-40B4-BE49-F238E27FC236}">
                <a16:creationId xmlns:a16="http://schemas.microsoft.com/office/drawing/2014/main" id="{49EC7976-E6D5-1D67-5731-0EC15257AE78}"/>
              </a:ext>
            </a:extLst>
          </p:cNvPr>
          <p:cNvGraphicFramePr>
            <a:graphicFrameLocks noGrp="1"/>
          </p:cNvGraphicFramePr>
          <p:nvPr>
            <p:extLst>
              <p:ext uri="{D42A27DB-BD31-4B8C-83A1-F6EECF244321}">
                <p14:modId xmlns:p14="http://schemas.microsoft.com/office/powerpoint/2010/main" val="3415689964"/>
              </p:ext>
            </p:extLst>
          </p:nvPr>
        </p:nvGraphicFramePr>
        <p:xfrm>
          <a:off x="462780" y="1131378"/>
          <a:ext cx="11205171" cy="5524800"/>
        </p:xfrm>
        <a:graphic>
          <a:graphicData uri="http://schemas.openxmlformats.org/drawingml/2006/table">
            <a:tbl>
              <a:tblPr firstRow="1">
                <a:tableStyleId>{9DCAF9ED-07DC-4A11-8D7F-57B35C25682E}</a:tableStyleId>
              </a:tblPr>
              <a:tblGrid>
                <a:gridCol w="2013205">
                  <a:extLst>
                    <a:ext uri="{9D8B030D-6E8A-4147-A177-3AD203B41FA5}">
                      <a16:colId xmlns:a16="http://schemas.microsoft.com/office/drawing/2014/main" val="2670652000"/>
                    </a:ext>
                  </a:extLst>
                </a:gridCol>
                <a:gridCol w="2377233">
                  <a:extLst>
                    <a:ext uri="{9D8B030D-6E8A-4147-A177-3AD203B41FA5}">
                      <a16:colId xmlns:a16="http://schemas.microsoft.com/office/drawing/2014/main" val="1706775175"/>
                    </a:ext>
                  </a:extLst>
                </a:gridCol>
                <a:gridCol w="6814733">
                  <a:extLst>
                    <a:ext uri="{9D8B030D-6E8A-4147-A177-3AD203B41FA5}">
                      <a16:colId xmlns:a16="http://schemas.microsoft.com/office/drawing/2014/main" val="1642469051"/>
                    </a:ext>
                  </a:extLst>
                </a:gridCol>
              </a:tblGrid>
              <a:tr h="0">
                <a:tc>
                  <a:txBody>
                    <a:bodyPr/>
                    <a:lstStyle/>
                    <a:p>
                      <a:pPr algn="l" fontAlgn="t"/>
                      <a:r>
                        <a:rPr lang="en-FI" sz="1600" b="1" dirty="0">
                          <a:effectLst/>
                        </a:rPr>
                        <a:t>N</a:t>
                      </a:r>
                      <a:r>
                        <a:rPr lang="en-GB" sz="1600" b="1" dirty="0" err="1">
                          <a:effectLst/>
                        </a:rPr>
                        <a:t>ame</a:t>
                      </a:r>
                      <a:endParaRPr lang="en-GB" sz="1600" b="1" dirty="0">
                        <a:effectLst/>
                      </a:endParaRPr>
                    </a:p>
                  </a:txBody>
                  <a:tcPr marL="72000" marR="72000" marT="36000" marB="72000"/>
                </a:tc>
                <a:tc>
                  <a:txBody>
                    <a:bodyPr/>
                    <a:lstStyle/>
                    <a:p>
                      <a:pPr algn="l" fontAlgn="t"/>
                      <a:r>
                        <a:rPr lang="en-GB" sz="1600" b="1" dirty="0">
                          <a:effectLst/>
                        </a:rPr>
                        <a:t>Description</a:t>
                      </a:r>
                    </a:p>
                  </a:txBody>
                  <a:tcPr marL="72000" marR="72000" marT="36000" marB="72000"/>
                </a:tc>
                <a:tc>
                  <a:txBody>
                    <a:bodyPr/>
                    <a:lstStyle/>
                    <a:p>
                      <a:pPr algn="l" fontAlgn="t"/>
                      <a:r>
                        <a:rPr lang="en-GB" sz="1600" b="1" dirty="0">
                          <a:effectLst/>
                        </a:rPr>
                        <a:t>Values</a:t>
                      </a:r>
                    </a:p>
                  </a:txBody>
                  <a:tcPr marL="72000" marR="72000" marT="36000" marB="72000"/>
                </a:tc>
                <a:extLst>
                  <a:ext uri="{0D108BD9-81ED-4DB2-BD59-A6C34878D82A}">
                    <a16:rowId xmlns:a16="http://schemas.microsoft.com/office/drawing/2014/main" val="3424300757"/>
                  </a:ext>
                </a:extLst>
              </a:tr>
              <a:tr h="770523">
                <a:tc>
                  <a:txBody>
                    <a:bodyPr/>
                    <a:lstStyle/>
                    <a:p>
                      <a:pPr algn="l" fontAlgn="t"/>
                      <a:r>
                        <a:rPr lang="en-GB" sz="1600" dirty="0">
                          <a:effectLst/>
                        </a:rPr>
                        <a:t>Audit Logs - Audience</a:t>
                      </a:r>
                    </a:p>
                  </a:txBody>
                  <a:tcPr marL="72000" marR="72000" marT="36000" marB="72000"/>
                </a:tc>
                <a:tc>
                  <a:txBody>
                    <a:bodyPr/>
                    <a:lstStyle/>
                    <a:p>
                      <a:pPr algn="l" fontAlgn="t"/>
                      <a:r>
                        <a:rPr lang="en-US" sz="1600" dirty="0">
                          <a:effectLst/>
                        </a:rPr>
                        <a:t>The audience parameter for the HTTP calls.</a:t>
                      </a:r>
                    </a:p>
                  </a:txBody>
                  <a:tcPr marL="72000" marR="72000" marT="36000" marB="72000"/>
                </a:tc>
                <a:tc>
                  <a:txBody>
                    <a:bodyPr/>
                    <a:lstStyle/>
                    <a:p>
                      <a:pPr algn="l" fontAlgn="t"/>
                      <a:r>
                        <a:rPr lang="en-US" sz="1600" dirty="0">
                          <a:effectLst/>
                        </a:rPr>
                        <a:t>Commercial (Default): https://manage.office.com</a:t>
                      </a:r>
                      <a:br>
                        <a:rPr lang="en-US" sz="1600" dirty="0">
                          <a:effectLst/>
                        </a:rPr>
                      </a:br>
                      <a:r>
                        <a:rPr lang="en-US" sz="1600" dirty="0">
                          <a:effectLst/>
                        </a:rPr>
                        <a:t>GCC: https://manage-gcc.office.com</a:t>
                      </a:r>
                      <a:br>
                        <a:rPr lang="en-US" sz="1600" dirty="0">
                          <a:effectLst/>
                        </a:rPr>
                      </a:br>
                      <a:r>
                        <a:rPr lang="en-US" sz="1600" dirty="0">
                          <a:effectLst/>
                        </a:rPr>
                        <a:t>GCC High: https://manage.office365.us</a:t>
                      </a:r>
                      <a:br>
                        <a:rPr lang="en-US" sz="1600" dirty="0">
                          <a:effectLst/>
                        </a:rPr>
                      </a:br>
                      <a:r>
                        <a:rPr lang="en-US" sz="1600" dirty="0">
                          <a:effectLst/>
                        </a:rPr>
                        <a:t>DoD: </a:t>
                      </a:r>
                      <a:r>
                        <a:rPr lang="en-US" sz="1600" dirty="0">
                          <a:effectLst/>
                          <a:hlinkClick r:id="rId4"/>
                        </a:rPr>
                        <a:t>https://manage.protection.apps.mil</a:t>
                      </a:r>
                      <a:endParaRPr lang="en-US" sz="1600" dirty="0">
                        <a:effectLst/>
                      </a:endParaRPr>
                    </a:p>
                  </a:txBody>
                  <a:tcPr marL="72000" marR="72000" marT="36000" marB="72000"/>
                </a:tc>
                <a:extLst>
                  <a:ext uri="{0D108BD9-81ED-4DB2-BD59-A6C34878D82A}">
                    <a16:rowId xmlns:a16="http://schemas.microsoft.com/office/drawing/2014/main" val="2872807572"/>
                  </a:ext>
                </a:extLst>
              </a:tr>
              <a:tr h="701464">
                <a:tc>
                  <a:txBody>
                    <a:bodyPr/>
                    <a:lstStyle/>
                    <a:p>
                      <a:pPr algn="l" fontAlgn="t"/>
                      <a:r>
                        <a:rPr lang="en-GB" sz="1600" dirty="0">
                          <a:effectLst/>
                        </a:rPr>
                        <a:t>Audit Logs - Authority</a:t>
                      </a:r>
                    </a:p>
                  </a:txBody>
                  <a:tcPr marL="72000" marR="72000" marT="36000" marB="72000"/>
                </a:tc>
                <a:tc>
                  <a:txBody>
                    <a:bodyPr/>
                    <a:lstStyle/>
                    <a:p>
                      <a:pPr algn="l" fontAlgn="t"/>
                      <a:r>
                        <a:rPr lang="en-US" sz="1600">
                          <a:effectLst/>
                        </a:rPr>
                        <a:t>The authority field in the HTTP calls.</a:t>
                      </a:r>
                    </a:p>
                  </a:txBody>
                  <a:tcPr marL="72000" marR="72000" marT="36000" marB="72000"/>
                </a:tc>
                <a:tc>
                  <a:txBody>
                    <a:bodyPr/>
                    <a:lstStyle/>
                    <a:p>
                      <a:pPr algn="l" fontAlgn="t"/>
                      <a:r>
                        <a:rPr lang="en-US" sz="1600" dirty="0">
                          <a:effectLst/>
                        </a:rPr>
                        <a:t>Commercial (Default): https://login.windows.net</a:t>
                      </a:r>
                      <a:br>
                        <a:rPr lang="en-US" sz="1600" dirty="0">
                          <a:effectLst/>
                        </a:rPr>
                      </a:br>
                      <a:r>
                        <a:rPr lang="en-US" sz="1600" dirty="0">
                          <a:effectLst/>
                        </a:rPr>
                        <a:t>GCC: https://login.windows.net</a:t>
                      </a:r>
                      <a:br>
                        <a:rPr lang="en-US" sz="1600" dirty="0">
                          <a:effectLst/>
                        </a:rPr>
                      </a:br>
                      <a:r>
                        <a:rPr lang="en-US" sz="1600" dirty="0">
                          <a:effectLst/>
                        </a:rPr>
                        <a:t>GCC High: https://login.microsoftonline.us</a:t>
                      </a:r>
                      <a:br>
                        <a:rPr lang="en-US" sz="1600" dirty="0">
                          <a:effectLst/>
                        </a:rPr>
                      </a:br>
                      <a:r>
                        <a:rPr lang="en-US" sz="1600" dirty="0">
                          <a:effectLst/>
                        </a:rPr>
                        <a:t>DoD: https://login.microsoftonline.us</a:t>
                      </a:r>
                    </a:p>
                  </a:txBody>
                  <a:tcPr marL="72000" marR="72000" marT="36000" marB="72000"/>
                </a:tc>
                <a:extLst>
                  <a:ext uri="{0D108BD9-81ED-4DB2-BD59-A6C34878D82A}">
                    <a16:rowId xmlns:a16="http://schemas.microsoft.com/office/drawing/2014/main" val="785879223"/>
                  </a:ext>
                </a:extLst>
              </a:tr>
              <a:tr h="425229">
                <a:tc>
                  <a:txBody>
                    <a:bodyPr/>
                    <a:lstStyle/>
                    <a:p>
                      <a:pPr algn="l" fontAlgn="t"/>
                      <a:r>
                        <a:rPr lang="en-GB" sz="1600">
                          <a:effectLst/>
                        </a:rPr>
                        <a:t>Audit Logs - ClientID</a:t>
                      </a:r>
                    </a:p>
                  </a:txBody>
                  <a:tcPr marL="72000" marR="72000" marT="36000" marB="72000"/>
                </a:tc>
                <a:tc>
                  <a:txBody>
                    <a:bodyPr/>
                    <a:lstStyle/>
                    <a:p>
                      <a:pPr algn="l" fontAlgn="t"/>
                      <a:r>
                        <a:rPr lang="en-GB" sz="1600">
                          <a:effectLst/>
                        </a:rPr>
                        <a:t>App registration Client ID.</a:t>
                      </a:r>
                    </a:p>
                  </a:txBody>
                  <a:tcPr marL="72000" marR="72000" marT="36000" marB="72000"/>
                </a:tc>
                <a:tc>
                  <a:txBody>
                    <a:bodyPr/>
                    <a:lstStyle/>
                    <a:p>
                      <a:pPr algn="l" fontAlgn="t"/>
                      <a:r>
                        <a:rPr lang="en-US" sz="1600" dirty="0">
                          <a:effectLst/>
                        </a:rPr>
                        <a:t>The application </a:t>
                      </a:r>
                      <a:r>
                        <a:rPr lang="en-FI" sz="1600" b="1" dirty="0">
                          <a:effectLst/>
                        </a:rPr>
                        <a:t>C</a:t>
                      </a:r>
                      <a:r>
                        <a:rPr lang="en-US" sz="1600" b="1" dirty="0" err="1">
                          <a:effectLst/>
                        </a:rPr>
                        <a:t>lient</a:t>
                      </a:r>
                      <a:r>
                        <a:rPr lang="en-US" sz="1600" b="1" dirty="0">
                          <a:effectLst/>
                        </a:rPr>
                        <a:t> ID</a:t>
                      </a:r>
                      <a:r>
                        <a:rPr lang="en-US" sz="1600" dirty="0">
                          <a:effectLst/>
                        </a:rPr>
                        <a:t> from the </a:t>
                      </a:r>
                      <a:r>
                        <a:rPr lang="en-US" sz="1600" u="none" strike="noStrike" dirty="0">
                          <a:effectLst/>
                          <a:hlinkClick r:id="rId5"/>
                        </a:rPr>
                        <a:t>Create an Azure AD app registration for the Office 365 Management API</a:t>
                      </a:r>
                      <a:r>
                        <a:rPr lang="en-US" sz="1600" dirty="0">
                          <a:effectLst/>
                        </a:rPr>
                        <a:t> step.</a:t>
                      </a:r>
                    </a:p>
                  </a:txBody>
                  <a:tcPr marL="72000" marR="72000" marT="36000" marB="72000"/>
                </a:tc>
                <a:extLst>
                  <a:ext uri="{0D108BD9-81ED-4DB2-BD59-A6C34878D82A}">
                    <a16:rowId xmlns:a16="http://schemas.microsoft.com/office/drawing/2014/main" val="797952183"/>
                  </a:ext>
                </a:extLst>
              </a:tr>
              <a:tr h="735993">
                <a:tc>
                  <a:txBody>
                    <a:bodyPr/>
                    <a:lstStyle/>
                    <a:p>
                      <a:pPr algn="l" fontAlgn="t"/>
                      <a:r>
                        <a:rPr lang="en-GB" sz="1600">
                          <a:effectLst/>
                        </a:rPr>
                        <a:t>Audit Logs - Client Secret</a:t>
                      </a:r>
                    </a:p>
                  </a:txBody>
                  <a:tcPr marL="72000" marR="72000" marT="36000" marB="72000"/>
                </a:tc>
                <a:tc>
                  <a:txBody>
                    <a:bodyPr/>
                    <a:lstStyle/>
                    <a:p>
                      <a:pPr algn="l" fontAlgn="t"/>
                      <a:r>
                        <a:rPr lang="en-GB" sz="1600">
                          <a:effectLst/>
                        </a:rPr>
                        <a:t>App registration client secret in plain text.</a:t>
                      </a:r>
                    </a:p>
                  </a:txBody>
                  <a:tcPr marL="72000" marR="72000" marT="36000" marB="72000"/>
                </a:tc>
                <a:tc>
                  <a:txBody>
                    <a:bodyPr/>
                    <a:lstStyle/>
                    <a:p>
                      <a:pPr algn="l" fontAlgn="t"/>
                      <a:r>
                        <a:rPr lang="en-US" sz="1600" dirty="0">
                          <a:effectLst/>
                        </a:rPr>
                        <a:t>The application </a:t>
                      </a:r>
                      <a:r>
                        <a:rPr lang="en-FI" sz="1600" b="1" dirty="0">
                          <a:effectLst/>
                        </a:rPr>
                        <a:t>C</a:t>
                      </a:r>
                      <a:r>
                        <a:rPr lang="en-US" sz="1600" b="1" dirty="0" err="1">
                          <a:effectLst/>
                        </a:rPr>
                        <a:t>lient</a:t>
                      </a:r>
                      <a:r>
                        <a:rPr lang="en-US" sz="1600" b="1" dirty="0">
                          <a:effectLst/>
                        </a:rPr>
                        <a:t> </a:t>
                      </a:r>
                      <a:r>
                        <a:rPr lang="en-FI" sz="1600" b="1" dirty="0">
                          <a:effectLst/>
                        </a:rPr>
                        <a:t>S</a:t>
                      </a:r>
                      <a:r>
                        <a:rPr lang="en-US" sz="1600" b="1" dirty="0" err="1">
                          <a:effectLst/>
                        </a:rPr>
                        <a:t>ecret</a:t>
                      </a:r>
                      <a:r>
                        <a:rPr lang="en-US" sz="1600" dirty="0">
                          <a:effectLst/>
                        </a:rPr>
                        <a:t> from the </a:t>
                      </a:r>
                      <a:r>
                        <a:rPr lang="en-US" sz="1600" u="none" strike="noStrike" dirty="0">
                          <a:effectLst/>
                          <a:hlinkClick r:id="rId5"/>
                        </a:rPr>
                        <a:t>Create an Azure AD app registration for the Office 365 Management API</a:t>
                      </a:r>
                      <a:r>
                        <a:rPr lang="en-US" sz="1600" dirty="0">
                          <a:effectLst/>
                        </a:rPr>
                        <a:t> step. Leave empty if you're using Azure Key Vault to store your client ID and secret.</a:t>
                      </a:r>
                    </a:p>
                  </a:txBody>
                  <a:tcPr marL="72000" marR="72000" marT="36000" marB="72000"/>
                </a:tc>
                <a:extLst>
                  <a:ext uri="{0D108BD9-81ED-4DB2-BD59-A6C34878D82A}">
                    <a16:rowId xmlns:a16="http://schemas.microsoft.com/office/drawing/2014/main" val="2482278965"/>
                  </a:ext>
                </a:extLst>
              </a:tr>
              <a:tr h="1495641">
                <a:tc>
                  <a:txBody>
                    <a:bodyPr/>
                    <a:lstStyle/>
                    <a:p>
                      <a:pPr algn="l" fontAlgn="t"/>
                      <a:r>
                        <a:rPr lang="fr-FR" sz="1600">
                          <a:effectLst/>
                        </a:rPr>
                        <a:t>Audit Logs - Client Azure Secret</a:t>
                      </a:r>
                    </a:p>
                  </a:txBody>
                  <a:tcPr marL="72000" marR="72000" marT="36000" marB="72000"/>
                </a:tc>
                <a:tc>
                  <a:txBody>
                    <a:bodyPr/>
                    <a:lstStyle/>
                    <a:p>
                      <a:pPr algn="l" fontAlgn="t"/>
                      <a:r>
                        <a:rPr lang="en-US" sz="1600">
                          <a:effectLst/>
                        </a:rPr>
                        <a:t>Azure Key Vault reference of the App registration client secret.</a:t>
                      </a:r>
                    </a:p>
                  </a:txBody>
                  <a:tcPr marL="72000" marR="72000" marT="36000" marB="72000"/>
                </a:tc>
                <a:tc>
                  <a:txBody>
                    <a:bodyPr/>
                    <a:lstStyle/>
                    <a:p>
                      <a:pPr algn="l" fontAlgn="t"/>
                      <a:r>
                        <a:rPr lang="en-US" sz="1600" dirty="0">
                          <a:effectLst/>
                        </a:rPr>
                        <a:t>The Azure Key Vault reference for the application client secret from the </a:t>
                      </a:r>
                      <a:r>
                        <a:rPr lang="en-US" sz="1600" u="none" strike="noStrike" dirty="0">
                          <a:effectLst/>
                          <a:hlinkClick r:id="rId5"/>
                        </a:rPr>
                        <a:t>Create an Azure AD app registration for the Office 365 Management API</a:t>
                      </a:r>
                      <a:r>
                        <a:rPr lang="en-US" sz="1600" dirty="0">
                          <a:effectLst/>
                        </a:rPr>
                        <a:t> step. Leave empty if you're storing your client ID in plain text in the </a:t>
                      </a:r>
                      <a:r>
                        <a:rPr lang="en-US" sz="1600" b="1" dirty="0">
                          <a:effectLst/>
                        </a:rPr>
                        <a:t>Audit Logs - Client Secret</a:t>
                      </a:r>
                      <a:r>
                        <a:rPr lang="en-US" sz="1600" dirty="0">
                          <a:effectLst/>
                        </a:rPr>
                        <a:t> environment variable. This variable expects the Azure Key Vault reference, not the secret. Learn more: </a:t>
                      </a:r>
                      <a:r>
                        <a:rPr lang="en-US" sz="1600" u="none" strike="noStrike" dirty="0">
                          <a:effectLst/>
                          <a:hlinkClick r:id="rId6"/>
                        </a:rPr>
                        <a:t>Use Azure Key Vault secrets in environment variables</a:t>
                      </a:r>
                      <a:endParaRPr lang="en-US" sz="1600" dirty="0">
                        <a:effectLst/>
                      </a:endParaRPr>
                    </a:p>
                  </a:txBody>
                  <a:tcPr marL="72000" marR="72000" marT="36000" marB="72000"/>
                </a:tc>
                <a:extLst>
                  <a:ext uri="{0D108BD9-81ED-4DB2-BD59-A6C34878D82A}">
                    <a16:rowId xmlns:a16="http://schemas.microsoft.com/office/drawing/2014/main" val="807775776"/>
                  </a:ext>
                </a:extLst>
              </a:tr>
            </a:tbl>
          </a:graphicData>
        </a:graphic>
      </p:graphicFrame>
    </p:spTree>
    <p:custDataLst>
      <p:tags r:id="rId1"/>
    </p:custDataLst>
    <p:extLst>
      <p:ext uri="{BB962C8B-B14F-4D97-AF65-F5344CB8AC3E}">
        <p14:creationId xmlns:p14="http://schemas.microsoft.com/office/powerpoint/2010/main" val="4085350765"/>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199" y="4580859"/>
            <a:ext cx="10824029" cy="769441"/>
          </a:xfrm>
        </p:spPr>
        <p:txBody>
          <a:bodyPr/>
          <a:lstStyle/>
          <a:p>
            <a:pPr>
              <a:lnSpc>
                <a:spcPts val="6000"/>
              </a:lnSpc>
              <a:spcBef>
                <a:spcPts val="0"/>
              </a:spcBef>
            </a:pPr>
            <a:r>
              <a:rPr lang="fr-FR" sz="5400"/>
              <a:t>CoE Power BI </a:t>
            </a:r>
            <a:r>
              <a:rPr lang="fr-FR" sz="5400" err="1"/>
              <a:t>Dashboards</a:t>
            </a:r>
            <a:endParaRPr lang="en-US" sz="5400"/>
          </a:p>
        </p:txBody>
      </p:sp>
      <p:sp>
        <p:nvSpPr>
          <p:cNvPr id="2" name="Text Placeholder 1">
            <a:extLst>
              <a:ext uri="{FF2B5EF4-FFF2-40B4-BE49-F238E27FC236}">
                <a16:creationId xmlns:a16="http://schemas.microsoft.com/office/drawing/2014/main" id="{482FEA19-2650-4EE7-9268-C5AD0D758CBB}"/>
              </a:ext>
            </a:extLst>
          </p:cNvPr>
          <p:cNvSpPr>
            <a:spLocks noGrp="1"/>
          </p:cNvSpPr>
          <p:nvPr>
            <p:ph type="body" sz="quarter" idx="12"/>
          </p:nvPr>
        </p:nvSpPr>
        <p:spPr/>
        <p:txBody>
          <a:bodyPr/>
          <a:lstStyle/>
          <a:p>
            <a:endParaRPr lang="en-US"/>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512546412"/>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FI">
                <a:solidFill>
                  <a:srgbClr val="243A5E"/>
                </a:solidFill>
              </a:rPr>
              <a:t>CoE </a:t>
            </a:r>
            <a:r>
              <a:rPr lang="en-US">
                <a:solidFill>
                  <a:srgbClr val="243A5E"/>
                </a:solidFill>
              </a:rPr>
              <a:t>Dashboard</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830221"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defTabSz="914192">
              <a:spcBef>
                <a:spcPts val="600"/>
              </a:spcBef>
              <a:spcAft>
                <a:spcPts val="600"/>
              </a:spcAft>
              <a:buClrTx/>
              <a:buNone/>
              <a:defRPr/>
            </a:pPr>
            <a:r>
              <a:rPr lang="en-US">
                <a:solidFill>
                  <a:srgbClr val="3C3C41"/>
                </a:solidFill>
                <a:latin typeface="Segoe UI"/>
                <a:cs typeface="Segoe UI"/>
              </a:rPr>
              <a:t>P</a:t>
            </a:r>
            <a:r>
              <a:rPr kumimoji="0" lang="en-US" i="0" u="none" strike="noStrike" kern="1200" cap="none" spc="-49" normalizeH="0" baseline="0" noProof="0">
                <a:ln>
                  <a:noFill/>
                </a:ln>
                <a:solidFill>
                  <a:srgbClr val="3C3C41"/>
                </a:solidFill>
                <a:effectLst/>
                <a:uLnTx/>
                <a:uFillTx/>
                <a:latin typeface="Segoe UI"/>
                <a:ea typeface="+mn-ea"/>
                <a:cs typeface="+mn-cs"/>
              </a:rPr>
              <a:t>rovides a holistic view with visualizations and insights into resources in your tenant: Environments, Apps, Flows, Connectors, Connections, Audit Log, Makers etc</a:t>
            </a:r>
            <a:r>
              <a:rPr lang="en-US">
                <a:solidFill>
                  <a:srgbClr val="3C3C41"/>
                </a:solidFill>
                <a:latin typeface="Segoe UI"/>
                <a:cs typeface="Segoe UI"/>
              </a:rPr>
              <a:t>.</a:t>
            </a:r>
            <a:r>
              <a:rPr lang="en-US" spc="-49">
                <a:solidFill>
                  <a:srgbClr val="3C3C41"/>
                </a:solidFill>
                <a:latin typeface="Segoe UI"/>
                <a:cs typeface="+mn-cs"/>
              </a:rPr>
              <a:t> </a:t>
            </a:r>
            <a:endParaRPr kumimoji="0" lang="en-US" i="0" u="none" strike="noStrike" kern="1200" cap="none" spc="-49" normalizeH="0" baseline="0" noProof="0">
              <a:ln>
                <a:noFill/>
              </a:ln>
              <a:solidFill>
                <a:srgbClr val="3C3C41"/>
              </a:solidFill>
              <a:effectLst/>
              <a:uLnTx/>
              <a:uFillTx/>
              <a:latin typeface="Segoe UI"/>
              <a:ea typeface="+mn-ea"/>
              <a:cs typeface="+mn-cs"/>
            </a:endParaRP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i="0" u="none" strike="noStrike" kern="1200" cap="none" spc="-49" normalizeH="0" baseline="0" noProof="0">
                <a:ln>
                  <a:noFill/>
                </a:ln>
                <a:solidFill>
                  <a:srgbClr val="3C3C41"/>
                </a:solidFill>
                <a:effectLst/>
                <a:uLnTx/>
                <a:uFillTx/>
                <a:latin typeface="Segoe UI"/>
                <a:ea typeface="+mn-ea"/>
                <a:cs typeface="+mn-cs"/>
              </a:rPr>
              <a:t>Telemetry from the audit log is stored from the moment you set up the </a:t>
            </a:r>
            <a:r>
              <a:rPr kumimoji="0" lang="en-US" i="0" u="none" strike="noStrike" kern="1200" cap="none" spc="-49" normalizeH="0" baseline="0" noProof="0" err="1">
                <a:ln>
                  <a:noFill/>
                </a:ln>
                <a:solidFill>
                  <a:srgbClr val="3C3C41"/>
                </a:solidFill>
                <a:effectLst/>
                <a:uLnTx/>
                <a:uFillTx/>
                <a:latin typeface="Segoe UI"/>
                <a:ea typeface="+mn-ea"/>
                <a:cs typeface="+mn-cs"/>
              </a:rPr>
              <a:t>CoE</a:t>
            </a:r>
            <a:r>
              <a:rPr kumimoji="0" lang="en-US" i="0" u="none" strike="noStrike" kern="1200" cap="none" spc="-49" normalizeH="0" baseline="0" noProof="0">
                <a:ln>
                  <a:noFill/>
                </a:ln>
                <a:solidFill>
                  <a:srgbClr val="3C3C41"/>
                </a:solidFill>
                <a:effectLst/>
                <a:uLnTx/>
                <a:uFillTx/>
                <a:latin typeface="Segoe UI"/>
                <a:ea typeface="+mn-ea"/>
                <a:cs typeface="+mn-cs"/>
              </a:rPr>
              <a:t> Starter Kit, so over time you can look back and identify trends for longer than 28 days</a:t>
            </a:r>
            <a:r>
              <a:rPr lang="en-US" spc="-49">
                <a:solidFill>
                  <a:srgbClr val="3C3C41"/>
                </a:solidFill>
                <a:latin typeface="Segoe UI"/>
                <a:cs typeface="+mn-cs"/>
              </a:rPr>
              <a:t>.</a:t>
            </a:r>
            <a:endParaRPr lang="en-US" b="0" i="0" u="none" strike="noStrike" kern="1200" cap="none" spc="-49" normalizeH="0" baseline="0" noProof="0">
              <a:ln>
                <a:noFill/>
              </a:ln>
              <a:solidFill>
                <a:srgbClr val="3C3C41"/>
              </a:solidFill>
              <a:effectLst/>
              <a:uLnTx/>
              <a:uFillTx/>
              <a:latin typeface="Segoe UI"/>
              <a:cs typeface="Segoe UI"/>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D6C184F-45E8-6ADF-73ED-366899E250D6}"/>
              </a:ext>
            </a:extLst>
          </p:cNvPr>
          <p:cNvPicPr>
            <a:picLocks noChangeAspect="1"/>
          </p:cNvPicPr>
          <p:nvPr/>
        </p:nvPicPr>
        <p:blipFill>
          <a:blip r:embed="rId5"/>
          <a:stretch>
            <a:fillRect/>
          </a:stretch>
        </p:blipFill>
        <p:spPr>
          <a:xfrm>
            <a:off x="6638569" y="550872"/>
            <a:ext cx="5499401" cy="2437322"/>
          </a:xfrm>
          <a:prstGeom prst="rect">
            <a:avLst/>
          </a:prstGeom>
        </p:spPr>
      </p:pic>
      <p:pic>
        <p:nvPicPr>
          <p:cNvPr id="8" name="Picture 7">
            <a:extLst>
              <a:ext uri="{FF2B5EF4-FFF2-40B4-BE49-F238E27FC236}">
                <a16:creationId xmlns:a16="http://schemas.microsoft.com/office/drawing/2014/main" id="{FBFAC280-74A4-894B-3B5A-21FEACACAFD0}"/>
              </a:ext>
            </a:extLst>
          </p:cNvPr>
          <p:cNvPicPr>
            <a:picLocks noChangeAspect="1"/>
          </p:cNvPicPr>
          <p:nvPr/>
        </p:nvPicPr>
        <p:blipFill>
          <a:blip r:embed="rId6"/>
          <a:stretch>
            <a:fillRect/>
          </a:stretch>
        </p:blipFill>
        <p:spPr>
          <a:xfrm>
            <a:off x="7989207" y="2757362"/>
            <a:ext cx="3932854" cy="2156484"/>
          </a:xfrm>
          <a:prstGeom prst="rect">
            <a:avLst/>
          </a:prstGeom>
        </p:spPr>
      </p:pic>
      <p:pic>
        <p:nvPicPr>
          <p:cNvPr id="10" name="Picture 9">
            <a:extLst>
              <a:ext uri="{FF2B5EF4-FFF2-40B4-BE49-F238E27FC236}">
                <a16:creationId xmlns:a16="http://schemas.microsoft.com/office/drawing/2014/main" id="{73EC80E8-CAAB-1244-C082-67906F89F93C}"/>
              </a:ext>
            </a:extLst>
          </p:cNvPr>
          <p:cNvPicPr>
            <a:picLocks noChangeAspect="1"/>
          </p:cNvPicPr>
          <p:nvPr/>
        </p:nvPicPr>
        <p:blipFill>
          <a:blip r:embed="rId7"/>
          <a:stretch>
            <a:fillRect/>
          </a:stretch>
        </p:blipFill>
        <p:spPr>
          <a:xfrm>
            <a:off x="6904071" y="4616183"/>
            <a:ext cx="3932854" cy="2198892"/>
          </a:xfrm>
          <a:prstGeom prst="rect">
            <a:avLst/>
          </a:prstGeom>
        </p:spPr>
      </p:pic>
      <p:sp>
        <p:nvSpPr>
          <p:cNvPr id="5" name="Footer Placeholder 4">
            <a:extLst>
              <a:ext uri="{FF2B5EF4-FFF2-40B4-BE49-F238E27FC236}">
                <a16:creationId xmlns:a16="http://schemas.microsoft.com/office/drawing/2014/main" id="{4FBE1636-7A58-3679-2AE1-FBAE0FB42DF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667324473"/>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FI">
                <a:solidFill>
                  <a:srgbClr val="243A5E"/>
                </a:solidFill>
              </a:rPr>
              <a:t>CoE Governance </a:t>
            </a:r>
            <a:r>
              <a:rPr lang="en-US">
                <a:solidFill>
                  <a:srgbClr val="243A5E"/>
                </a:solidFill>
              </a:rPr>
              <a:t>Dashboard</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9" y="1408114"/>
            <a:ext cx="4897794"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defTabSz="914192">
              <a:spcBef>
                <a:spcPts val="600"/>
              </a:spcBef>
              <a:spcAft>
                <a:spcPts val="600"/>
              </a:spcAft>
              <a:buClrTx/>
              <a:buNone/>
              <a:defRPr/>
            </a:pPr>
            <a:r>
              <a:rPr lang="en-US">
                <a:solidFill>
                  <a:srgbClr val="3C3C41"/>
                </a:solidFill>
                <a:latin typeface="Segoe UI"/>
                <a:cs typeface="Segoe UI"/>
              </a:rPr>
              <a:t>Governance dashboard highlights governance, compliance and security insights, allows you to gain a high-level view into your adoption and provides a tech debt report of the Default environment.</a:t>
            </a: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B7548033-9EB2-A289-29C2-1A292F7BA52A}"/>
              </a:ext>
            </a:extLst>
          </p:cNvPr>
          <p:cNvPicPr>
            <a:picLocks noChangeAspect="1"/>
          </p:cNvPicPr>
          <p:nvPr/>
        </p:nvPicPr>
        <p:blipFill>
          <a:blip r:embed="rId5"/>
          <a:stretch>
            <a:fillRect/>
          </a:stretch>
        </p:blipFill>
        <p:spPr>
          <a:xfrm>
            <a:off x="6987975" y="320040"/>
            <a:ext cx="5150162" cy="2679604"/>
          </a:xfrm>
          <a:prstGeom prst="rect">
            <a:avLst/>
          </a:prstGeom>
        </p:spPr>
      </p:pic>
      <p:pic>
        <p:nvPicPr>
          <p:cNvPr id="12" name="Picture 11">
            <a:extLst>
              <a:ext uri="{FF2B5EF4-FFF2-40B4-BE49-F238E27FC236}">
                <a16:creationId xmlns:a16="http://schemas.microsoft.com/office/drawing/2014/main" id="{41A45455-1948-CE62-047C-473C0162C0AB}"/>
              </a:ext>
            </a:extLst>
          </p:cNvPr>
          <p:cNvPicPr>
            <a:picLocks noChangeAspect="1"/>
          </p:cNvPicPr>
          <p:nvPr/>
        </p:nvPicPr>
        <p:blipFill>
          <a:blip r:embed="rId6"/>
          <a:stretch>
            <a:fillRect/>
          </a:stretch>
        </p:blipFill>
        <p:spPr>
          <a:xfrm>
            <a:off x="6226710" y="2141409"/>
            <a:ext cx="4833996" cy="2679604"/>
          </a:xfrm>
          <a:prstGeom prst="rect">
            <a:avLst/>
          </a:prstGeom>
        </p:spPr>
      </p:pic>
      <p:pic>
        <p:nvPicPr>
          <p:cNvPr id="14" name="Picture 13">
            <a:extLst>
              <a:ext uri="{FF2B5EF4-FFF2-40B4-BE49-F238E27FC236}">
                <a16:creationId xmlns:a16="http://schemas.microsoft.com/office/drawing/2014/main" id="{1FCD35B6-259F-EB32-BDFB-F6C01E375641}"/>
              </a:ext>
            </a:extLst>
          </p:cNvPr>
          <p:cNvPicPr>
            <a:picLocks noChangeAspect="1"/>
          </p:cNvPicPr>
          <p:nvPr/>
        </p:nvPicPr>
        <p:blipFill>
          <a:blip r:embed="rId7"/>
          <a:stretch>
            <a:fillRect/>
          </a:stretch>
        </p:blipFill>
        <p:spPr>
          <a:xfrm>
            <a:off x="7894324" y="4242390"/>
            <a:ext cx="4243813" cy="2498651"/>
          </a:xfrm>
          <a:prstGeom prst="rect">
            <a:avLst/>
          </a:prstGeom>
        </p:spPr>
      </p:pic>
      <p:sp>
        <p:nvSpPr>
          <p:cNvPr id="5" name="Footer Placeholder 4">
            <a:extLst>
              <a:ext uri="{FF2B5EF4-FFF2-40B4-BE49-F238E27FC236}">
                <a16:creationId xmlns:a16="http://schemas.microsoft.com/office/drawing/2014/main" id="{0E014834-803E-BA92-385E-B84D1B9DB6E3}"/>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91185291"/>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FI" noProof="1">
                <a:solidFill>
                  <a:srgbClr val="243A5E"/>
                </a:solidFill>
              </a:rPr>
              <a:t>Administration Planning</a:t>
            </a:r>
            <a:endParaRPr lang="en-US" noProof="1">
              <a:solidFill>
                <a:srgbClr val="243A5E"/>
              </a:solidFill>
            </a:endParaRP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6159831"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defTabSz="914192">
              <a:spcBef>
                <a:spcPts val="600"/>
              </a:spcBef>
              <a:spcAft>
                <a:spcPts val="600"/>
              </a:spcAft>
              <a:buClrTx/>
              <a:buNone/>
              <a:defRPr/>
            </a:pPr>
            <a:r>
              <a:rPr lang="en-US">
                <a:solidFill>
                  <a:srgbClr val="3C3C41"/>
                </a:solidFill>
                <a:latin typeface="Segoe UI"/>
                <a:cs typeface="Segoe UI"/>
              </a:rPr>
              <a:t>Administration Planning</a:t>
            </a:r>
            <a:r>
              <a:rPr lang="en-FI">
                <a:solidFill>
                  <a:srgbClr val="3C3C41"/>
                </a:solidFill>
                <a:latin typeface="Segoe UI"/>
                <a:cs typeface="Segoe UI"/>
              </a:rPr>
              <a:t> </a:t>
            </a:r>
            <a:r>
              <a:rPr lang="en-US">
                <a:solidFill>
                  <a:srgbClr val="3C3C41"/>
                </a:solidFill>
                <a:latin typeface="Segoe UI"/>
                <a:cs typeface="Segoe UI"/>
              </a:rPr>
              <a:t>dashboard provides visualizations and insights into what your administration story looks like, based on your task metadata. </a:t>
            </a:r>
            <a:endParaRPr lang="en-FI">
              <a:solidFill>
                <a:srgbClr val="3C3C41"/>
              </a:solidFill>
              <a:latin typeface="Segoe UI"/>
              <a:cs typeface="Segoe UI"/>
            </a:endParaRPr>
          </a:p>
          <a:p>
            <a:pPr marL="0" indent="0" defTabSz="914192">
              <a:spcBef>
                <a:spcPts val="600"/>
              </a:spcBef>
              <a:spcAft>
                <a:spcPts val="600"/>
              </a:spcAft>
              <a:buClrTx/>
              <a:buNone/>
              <a:defRPr/>
            </a:pPr>
            <a:r>
              <a:rPr lang="en-US">
                <a:solidFill>
                  <a:srgbClr val="3C3C41"/>
                </a:solidFill>
                <a:latin typeface="Segoe UI"/>
                <a:cs typeface="Segoe UI"/>
              </a:rPr>
              <a:t>You can work directly with the Power BI (.</a:t>
            </a:r>
            <a:r>
              <a:rPr lang="en-US" err="1">
                <a:solidFill>
                  <a:srgbClr val="3C3C41"/>
                </a:solidFill>
                <a:latin typeface="Segoe UI"/>
                <a:cs typeface="Segoe UI"/>
              </a:rPr>
              <a:t>pbit</a:t>
            </a:r>
            <a:r>
              <a:rPr lang="en-US">
                <a:solidFill>
                  <a:srgbClr val="3C3C41"/>
                </a:solidFill>
                <a:latin typeface="Segoe UI"/>
                <a:cs typeface="Segoe UI"/>
              </a:rPr>
              <a:t>) file and Power BI Desktop to configure and modify the Power BI dashboard to reflect your own branding, and include or exclude visuals that you want to see in the dashboard.</a:t>
            </a:r>
            <a:endParaRPr lang="en-US" b="0" i="0" u="none" strike="noStrike" kern="1200" cap="none" spc="-49" normalizeH="0" baseline="0" noProof="0">
              <a:ln>
                <a:noFill/>
              </a:ln>
              <a:solidFill>
                <a:srgbClr val="3C3C41"/>
              </a:solidFill>
              <a:effectLst/>
              <a:uLnTx/>
              <a:uFillTx/>
              <a:latin typeface="Segoe UI"/>
              <a:cs typeface="Segoe UI"/>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FBCF58AC-3A29-0D9C-2802-38F2347EC1BC}"/>
              </a:ext>
            </a:extLst>
          </p:cNvPr>
          <p:cNvPicPr>
            <a:picLocks noChangeAspect="1"/>
          </p:cNvPicPr>
          <p:nvPr/>
        </p:nvPicPr>
        <p:blipFill>
          <a:blip r:embed="rId5"/>
          <a:stretch>
            <a:fillRect/>
          </a:stretch>
        </p:blipFill>
        <p:spPr>
          <a:xfrm>
            <a:off x="7294593" y="893139"/>
            <a:ext cx="4806316" cy="3059056"/>
          </a:xfrm>
          <a:prstGeom prst="rect">
            <a:avLst/>
          </a:prstGeom>
        </p:spPr>
      </p:pic>
      <p:pic>
        <p:nvPicPr>
          <p:cNvPr id="9" name="Picture 8">
            <a:extLst>
              <a:ext uri="{FF2B5EF4-FFF2-40B4-BE49-F238E27FC236}">
                <a16:creationId xmlns:a16="http://schemas.microsoft.com/office/drawing/2014/main" id="{E8ED4C65-BD1C-604A-E914-5FC91C36C8B3}"/>
              </a:ext>
            </a:extLst>
          </p:cNvPr>
          <p:cNvPicPr>
            <a:picLocks noChangeAspect="1"/>
          </p:cNvPicPr>
          <p:nvPr/>
        </p:nvPicPr>
        <p:blipFill>
          <a:blip r:embed="rId6"/>
          <a:stretch>
            <a:fillRect/>
          </a:stretch>
        </p:blipFill>
        <p:spPr>
          <a:xfrm>
            <a:off x="7294593" y="3952195"/>
            <a:ext cx="4806316" cy="2750034"/>
          </a:xfrm>
          <a:prstGeom prst="rect">
            <a:avLst/>
          </a:prstGeom>
        </p:spPr>
      </p:pic>
      <p:sp>
        <p:nvSpPr>
          <p:cNvPr id="5" name="Footer Placeholder 4">
            <a:extLst>
              <a:ext uri="{FF2B5EF4-FFF2-40B4-BE49-F238E27FC236}">
                <a16:creationId xmlns:a16="http://schemas.microsoft.com/office/drawing/2014/main" id="{69FF3C8B-3512-0EE2-B20D-6696847DA4A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484778796"/>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US">
                <a:solidFill>
                  <a:srgbClr val="243A5E"/>
                </a:solidFill>
              </a:rPr>
              <a:t>Configure Power BI Dashboard</a:t>
            </a:r>
            <a:r>
              <a:rPr lang="en-FI">
                <a:solidFill>
                  <a:srgbClr val="243A5E"/>
                </a:solidFill>
              </a:rPr>
              <a:t>s</a:t>
            </a:r>
            <a:endParaRPr lang="en-US" noProof="1">
              <a:solidFill>
                <a:srgbClr val="243A5E"/>
              </a:solidFill>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ooter Placeholder 2">
            <a:extLst>
              <a:ext uri="{FF2B5EF4-FFF2-40B4-BE49-F238E27FC236}">
                <a16:creationId xmlns:a16="http://schemas.microsoft.com/office/drawing/2014/main" id="{4BF1C719-C026-4CEE-ABC1-B999048A802D}"/>
              </a:ext>
            </a:extLst>
          </p:cNvPr>
          <p:cNvSpPr txBox="1">
            <a:spLocks/>
          </p:cNvSpPr>
          <p:nvPr/>
        </p:nvSpPr>
        <p:spPr>
          <a:xfrm>
            <a:off x="361838" y="6450194"/>
            <a:ext cx="11586711" cy="11829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686">
                <a:solidFill>
                  <a:srgbClr val="FFFFFF">
                    <a:lumMod val="65000"/>
                  </a:srgbClr>
                </a:solidFill>
                <a:latin typeface="Segoe UI"/>
              </a:rPr>
              <a:t>© Microsoft Corporation                                                                                  								                      Power Platform </a:t>
            </a:r>
          </a:p>
        </p:txBody>
      </p:sp>
      <p:sp>
        <p:nvSpPr>
          <p:cNvPr id="2" name="Text Placeholder 6">
            <a:extLst>
              <a:ext uri="{FF2B5EF4-FFF2-40B4-BE49-F238E27FC236}">
                <a16:creationId xmlns:a16="http://schemas.microsoft.com/office/drawing/2014/main" id="{094F5952-7A83-47EB-AF0E-51571CA35DE1}"/>
              </a:ext>
            </a:extLst>
          </p:cNvPr>
          <p:cNvSpPr txBox="1">
            <a:spLocks/>
          </p:cNvSpPr>
          <p:nvPr/>
        </p:nvSpPr>
        <p:spPr>
          <a:xfrm>
            <a:off x="663260" y="1399097"/>
            <a:ext cx="7287134" cy="5001703"/>
          </a:xfrm>
          <a:prstGeom prst="rect">
            <a:avLst/>
          </a:prstGeom>
        </p:spPr>
        <p:txBody>
          <a:bodyPr lIns="91440" tIns="45720" rIns="91440" bIns="4572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sz="1800">
                <a:solidFill>
                  <a:srgbClr val="3C3C41"/>
                </a:solidFill>
                <a:latin typeface="Segoe UI"/>
              </a:rPr>
              <a:t>You can configure and modify the Power BI dashboard by working directly with the Power BI (.</a:t>
            </a:r>
            <a:r>
              <a:rPr lang="en-US" sz="1800" err="1">
                <a:solidFill>
                  <a:srgbClr val="3C3C41"/>
                </a:solidFill>
                <a:latin typeface="Segoe UI"/>
              </a:rPr>
              <a:t>pbit</a:t>
            </a:r>
            <a:r>
              <a:rPr lang="en-US" sz="1800">
                <a:solidFill>
                  <a:srgbClr val="3C3C41"/>
                </a:solidFill>
                <a:latin typeface="Segoe UI"/>
              </a:rPr>
              <a:t>) file and Power BI Desktop. This gives you flexibility in terms of modifying the dashboard to your own branding and including (or excluding) pages or visuals you want to see (or not see) in the dashboard.</a:t>
            </a:r>
          </a:p>
          <a:p>
            <a:pPr marL="264795" marR="0" lvl="0" indent="-264795"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US" sz="1800">
                <a:solidFill>
                  <a:srgbClr val="3C3C41"/>
                </a:solidFill>
                <a:latin typeface="Segoe UI"/>
              </a:rPr>
              <a:t>Download and install Microsoft Power BI Desktop.</a:t>
            </a:r>
            <a:endParaRPr lang="en-US" sz="1800">
              <a:solidFill>
                <a:srgbClr val="3C3C41"/>
              </a:solidFill>
              <a:latin typeface="Segoe UI"/>
              <a:cs typeface="Segoe UI"/>
            </a:endParaRPr>
          </a:p>
          <a:p>
            <a:pPr marL="264795" marR="0" lvl="0" indent="-264795"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FI" sz="1800">
                <a:solidFill>
                  <a:srgbClr val="3C3C41"/>
                </a:solidFill>
                <a:latin typeface="Segoe UI"/>
              </a:rPr>
              <a:t>O</a:t>
            </a:r>
            <a:r>
              <a:rPr lang="en-US" sz="1800">
                <a:solidFill>
                  <a:srgbClr val="3C3C41"/>
                </a:solidFill>
                <a:latin typeface="Segoe UI"/>
              </a:rPr>
              <a:t>pen the</a:t>
            </a:r>
            <a:r>
              <a:rPr lang="en-FI" sz="1800">
                <a:solidFill>
                  <a:srgbClr val="3C3C41"/>
                </a:solidFill>
                <a:latin typeface="Segoe UI"/>
              </a:rPr>
              <a:t> dashboard</a:t>
            </a:r>
            <a:r>
              <a:rPr lang="en-US" sz="1800">
                <a:solidFill>
                  <a:srgbClr val="3C3C41"/>
                </a:solidFill>
                <a:latin typeface="Segoe UI"/>
              </a:rPr>
              <a:t> </a:t>
            </a:r>
            <a:r>
              <a:rPr lang="en-FI" sz="1800">
                <a:solidFill>
                  <a:srgbClr val="3C3C41"/>
                </a:solidFill>
                <a:latin typeface="Segoe UI"/>
              </a:rPr>
              <a:t>*</a:t>
            </a:r>
            <a:r>
              <a:rPr lang="en-US" sz="1800">
                <a:solidFill>
                  <a:srgbClr val="3C3C41"/>
                </a:solidFill>
                <a:latin typeface="Segoe UI"/>
              </a:rPr>
              <a:t>.</a:t>
            </a:r>
            <a:r>
              <a:rPr lang="en-US" sz="1800" err="1">
                <a:solidFill>
                  <a:srgbClr val="3C3C41"/>
                </a:solidFill>
                <a:latin typeface="Segoe UI"/>
              </a:rPr>
              <a:t>pbit</a:t>
            </a:r>
            <a:r>
              <a:rPr lang="en-US" sz="1800">
                <a:solidFill>
                  <a:srgbClr val="3C3C41"/>
                </a:solidFill>
                <a:latin typeface="Segoe UI"/>
              </a:rPr>
              <a:t> file</a:t>
            </a:r>
            <a:r>
              <a:rPr lang="en-FI" sz="1800">
                <a:solidFill>
                  <a:srgbClr val="3C3C41"/>
                </a:solidFill>
                <a:latin typeface="Segoe UI"/>
              </a:rPr>
              <a:t> to Power BI Desktop</a:t>
            </a:r>
            <a:endParaRPr lang="en-US" sz="1800">
              <a:solidFill>
                <a:srgbClr val="3C3C41"/>
              </a:solidFill>
              <a:latin typeface="Segoe UI"/>
              <a:cs typeface="Segoe UI"/>
            </a:endParaRPr>
          </a:p>
          <a:p>
            <a:pPr marL="264795" marR="0" lvl="0" indent="-264795"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FI" sz="1800">
                <a:solidFill>
                  <a:srgbClr val="3C3C41"/>
                </a:solidFill>
                <a:latin typeface="Segoe UI"/>
              </a:rPr>
              <a:t>Copy </a:t>
            </a:r>
            <a:r>
              <a:rPr lang="en-FI" sz="1800" err="1">
                <a:solidFill>
                  <a:srgbClr val="3C3C41"/>
                </a:solidFill>
                <a:latin typeface="Segoe UI"/>
              </a:rPr>
              <a:t>CoE</a:t>
            </a:r>
            <a:r>
              <a:rPr lang="en-FI" sz="1800">
                <a:solidFill>
                  <a:srgbClr val="3C3C41"/>
                </a:solidFill>
                <a:latin typeface="Segoe UI"/>
              </a:rPr>
              <a:t> environment </a:t>
            </a:r>
            <a:r>
              <a:rPr lang="en-FI" sz="1800" err="1">
                <a:solidFill>
                  <a:srgbClr val="3C3C41"/>
                </a:solidFill>
                <a:latin typeface="Segoe UI"/>
              </a:rPr>
              <a:t>url</a:t>
            </a:r>
            <a:r>
              <a:rPr lang="en-FI" sz="1800">
                <a:solidFill>
                  <a:srgbClr val="3C3C41"/>
                </a:solidFill>
                <a:latin typeface="Segoe UI"/>
              </a:rPr>
              <a:t> from the Power Platform Admin Center (PPAC)</a:t>
            </a:r>
          </a:p>
          <a:p>
            <a:pPr marL="264795" marR="0" lvl="0" indent="-264795"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FI" sz="1800">
                <a:solidFill>
                  <a:srgbClr val="3C3C41"/>
                </a:solidFill>
                <a:latin typeface="Segoe UI"/>
              </a:rPr>
              <a:t>When configuring </a:t>
            </a:r>
            <a:r>
              <a:rPr lang="en-FI" sz="1800" b="1" err="1">
                <a:solidFill>
                  <a:srgbClr val="3C3C41"/>
                </a:solidFill>
                <a:latin typeface="Segoe UI"/>
              </a:rPr>
              <a:t>CoE</a:t>
            </a:r>
            <a:r>
              <a:rPr lang="en-FI" sz="1800" b="1">
                <a:solidFill>
                  <a:srgbClr val="3C3C41"/>
                </a:solidFill>
                <a:latin typeface="Segoe UI"/>
              </a:rPr>
              <a:t> Dashboard</a:t>
            </a:r>
            <a:r>
              <a:rPr lang="en-FI" sz="1800">
                <a:solidFill>
                  <a:srgbClr val="3C3C41"/>
                </a:solidFill>
                <a:latin typeface="Segoe UI"/>
              </a:rPr>
              <a:t> or </a:t>
            </a:r>
            <a:r>
              <a:rPr lang="en-FI" sz="1800" b="1" err="1">
                <a:solidFill>
                  <a:srgbClr val="3C3C41"/>
                </a:solidFill>
                <a:latin typeface="Segoe UI"/>
              </a:rPr>
              <a:t>CoE</a:t>
            </a:r>
            <a:r>
              <a:rPr lang="en-FI" sz="1800" b="1">
                <a:solidFill>
                  <a:srgbClr val="3C3C41"/>
                </a:solidFill>
                <a:latin typeface="Segoe UI"/>
              </a:rPr>
              <a:t> Governance Dashboard</a:t>
            </a:r>
            <a:r>
              <a:rPr lang="en-FI" sz="1800">
                <a:solidFill>
                  <a:srgbClr val="3C3C41"/>
                </a:solidFill>
                <a:latin typeface="Segoe UI"/>
              </a:rPr>
              <a:t>, paste the environment </a:t>
            </a:r>
            <a:r>
              <a:rPr lang="en-US" sz="1800">
                <a:solidFill>
                  <a:srgbClr val="3C3C41"/>
                </a:solidFill>
                <a:latin typeface="Segoe UI"/>
              </a:rPr>
              <a:t>URL</a:t>
            </a:r>
            <a:r>
              <a:rPr lang="en-FI" sz="1800">
                <a:solidFill>
                  <a:srgbClr val="3C3C41"/>
                </a:solidFill>
                <a:latin typeface="Segoe UI"/>
              </a:rPr>
              <a:t> </a:t>
            </a:r>
            <a:r>
              <a:rPr lang="en-FI" sz="1800" u="sng">
                <a:solidFill>
                  <a:srgbClr val="FF0000"/>
                </a:solidFill>
                <a:latin typeface="Segoe UI"/>
              </a:rPr>
              <a:t>with</a:t>
            </a:r>
            <a:r>
              <a:rPr lang="en-FI" sz="1800">
                <a:solidFill>
                  <a:srgbClr val="3C3C41"/>
                </a:solidFill>
                <a:latin typeface="Segoe UI"/>
              </a:rPr>
              <a:t> https:// prefix</a:t>
            </a:r>
          </a:p>
          <a:p>
            <a:pPr marL="264795" marR="0" lvl="0" indent="-264795" algn="l" defTabSz="914192" rtl="0" eaLnBrk="1" fontAlgn="auto" latinLnBrk="0" hangingPunct="1">
              <a:lnSpc>
                <a:spcPct val="100000"/>
              </a:lnSpc>
              <a:spcBef>
                <a:spcPts val="600"/>
              </a:spcBef>
              <a:spcAft>
                <a:spcPts val="600"/>
              </a:spcAft>
              <a:buClrTx/>
              <a:buSzPct val="90000"/>
              <a:buFont typeface="+mj-lt"/>
              <a:buAutoNum type="arabicPeriod"/>
              <a:tabLst/>
              <a:defRPr/>
            </a:pPr>
            <a:r>
              <a:rPr lang="en-FI" sz="1800">
                <a:solidFill>
                  <a:srgbClr val="3C3C41"/>
                </a:solidFill>
                <a:latin typeface="Segoe UI"/>
                <a:cs typeface="Segoe UI"/>
              </a:rPr>
              <a:t>When configuring </a:t>
            </a:r>
            <a:r>
              <a:rPr lang="en-FI" sz="1800" b="1">
                <a:solidFill>
                  <a:srgbClr val="3C3C41"/>
                </a:solidFill>
                <a:latin typeface="Segoe UI"/>
                <a:cs typeface="Segoe UI"/>
              </a:rPr>
              <a:t>Power Platform </a:t>
            </a:r>
            <a:r>
              <a:rPr lang="en-FI" sz="1800" b="1" err="1">
                <a:solidFill>
                  <a:srgbClr val="3C3C41"/>
                </a:solidFill>
                <a:latin typeface="Segoe UI"/>
                <a:cs typeface="Segoe UI"/>
              </a:rPr>
              <a:t>Administra</a:t>
            </a:r>
            <a:r>
              <a:rPr lang="en-US" sz="1800" b="1">
                <a:solidFill>
                  <a:srgbClr val="3C3C41"/>
                </a:solidFill>
                <a:latin typeface="Segoe UI"/>
                <a:cs typeface="Segoe UI"/>
              </a:rPr>
              <a:t>t</a:t>
            </a:r>
            <a:r>
              <a:rPr lang="en-FI" sz="1800" b="1">
                <a:solidFill>
                  <a:srgbClr val="3C3C41"/>
                </a:solidFill>
                <a:latin typeface="Segoe UI"/>
                <a:cs typeface="Segoe UI"/>
              </a:rPr>
              <a:t>ion Planning </a:t>
            </a:r>
            <a:r>
              <a:rPr lang="en-FI" sz="1800">
                <a:solidFill>
                  <a:srgbClr val="3C3C41"/>
                </a:solidFill>
                <a:latin typeface="Segoe UI"/>
                <a:cs typeface="Segoe UI"/>
              </a:rPr>
              <a:t>Dashboard, then paste the environment URL </a:t>
            </a:r>
            <a:r>
              <a:rPr lang="en-FI" sz="1800" u="sng">
                <a:solidFill>
                  <a:srgbClr val="FF0000"/>
                </a:solidFill>
                <a:latin typeface="Segoe UI"/>
                <a:cs typeface="Segoe UI"/>
              </a:rPr>
              <a:t>without</a:t>
            </a:r>
            <a:r>
              <a:rPr lang="en-FI" sz="1800">
                <a:latin typeface="Segoe UI"/>
                <a:cs typeface="Segoe UI"/>
              </a:rPr>
              <a:t> https:// prefix</a:t>
            </a:r>
            <a:endParaRPr lang="en-US" sz="1600" b="1" u="sng">
              <a:solidFill>
                <a:srgbClr val="FF0000"/>
              </a:solidFill>
              <a:latin typeface="Segoe UI"/>
              <a:cs typeface="Segoe UI"/>
            </a:endParaRPr>
          </a:p>
        </p:txBody>
      </p:sp>
      <p:pic>
        <p:nvPicPr>
          <p:cNvPr id="5" name="Picture 4">
            <a:extLst>
              <a:ext uri="{FF2B5EF4-FFF2-40B4-BE49-F238E27FC236}">
                <a16:creationId xmlns:a16="http://schemas.microsoft.com/office/drawing/2014/main" id="{EFA21600-39BB-4B0F-B30C-665A8271000F}"/>
              </a:ext>
            </a:extLst>
          </p:cNvPr>
          <p:cNvPicPr>
            <a:picLocks noChangeAspect="1"/>
          </p:cNvPicPr>
          <p:nvPr/>
        </p:nvPicPr>
        <p:blipFill>
          <a:blip r:embed="rId4"/>
          <a:stretch>
            <a:fillRect/>
          </a:stretch>
        </p:blipFill>
        <p:spPr>
          <a:xfrm>
            <a:off x="7811531" y="4250913"/>
            <a:ext cx="3957718" cy="2422647"/>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676DA7B8-2FC2-BB55-FA50-42FF709B9E72}"/>
              </a:ext>
            </a:extLst>
          </p:cNvPr>
          <p:cNvPicPr>
            <a:picLocks noChangeAspect="1"/>
          </p:cNvPicPr>
          <p:nvPr/>
        </p:nvPicPr>
        <p:blipFill>
          <a:blip r:embed="rId5"/>
          <a:stretch>
            <a:fillRect/>
          </a:stretch>
        </p:blipFill>
        <p:spPr>
          <a:xfrm>
            <a:off x="8685001" y="2190709"/>
            <a:ext cx="3084248" cy="1871990"/>
          </a:xfrm>
          <a:prstGeom prst="rect">
            <a:avLst/>
          </a:prstGeom>
          <a:ln>
            <a:noFill/>
          </a:ln>
          <a:effectLst>
            <a:outerShdw blurRad="292100" dist="139700" dir="2700000" algn="tl" rotWithShape="0">
              <a:srgbClr val="333333">
                <a:alpha val="65000"/>
              </a:srgbClr>
            </a:outerShdw>
          </a:effectLst>
        </p:spPr>
      </p:pic>
      <p:cxnSp>
        <p:nvCxnSpPr>
          <p:cNvPr id="8" name="Straight Arrow Connector 7">
            <a:extLst>
              <a:ext uri="{FF2B5EF4-FFF2-40B4-BE49-F238E27FC236}">
                <a16:creationId xmlns:a16="http://schemas.microsoft.com/office/drawing/2014/main" id="{7ED9FAD1-8350-8558-57EE-ACD1256736A3}"/>
              </a:ext>
            </a:extLst>
          </p:cNvPr>
          <p:cNvCxnSpPr>
            <a:cxnSpLocks/>
          </p:cNvCxnSpPr>
          <p:nvPr/>
        </p:nvCxnSpPr>
        <p:spPr>
          <a:xfrm flipV="1">
            <a:off x="5921840" y="1924542"/>
            <a:ext cx="2349641" cy="1617063"/>
          </a:xfrm>
          <a:prstGeom prst="straightConnector1">
            <a:avLst/>
          </a:prstGeom>
          <a:ln w="19050">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DE7E01B-A914-E219-5438-988AFA56C797}"/>
              </a:ext>
            </a:extLst>
          </p:cNvPr>
          <p:cNvCxnSpPr>
            <a:cxnSpLocks/>
          </p:cNvCxnSpPr>
          <p:nvPr/>
        </p:nvCxnSpPr>
        <p:spPr>
          <a:xfrm flipV="1">
            <a:off x="7303885" y="3212007"/>
            <a:ext cx="1702203" cy="759700"/>
          </a:xfrm>
          <a:prstGeom prst="straightConnector1">
            <a:avLst/>
          </a:prstGeom>
          <a:ln w="19050">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40AA6776-FA87-6731-486B-5C4A4DD89396}"/>
              </a:ext>
            </a:extLst>
          </p:cNvPr>
          <p:cNvPicPr>
            <a:picLocks noChangeAspect="1"/>
          </p:cNvPicPr>
          <p:nvPr/>
        </p:nvPicPr>
        <p:blipFill>
          <a:blip r:embed="rId6"/>
          <a:stretch>
            <a:fillRect/>
          </a:stretch>
        </p:blipFill>
        <p:spPr>
          <a:xfrm>
            <a:off x="8271481" y="1054726"/>
            <a:ext cx="3497768" cy="869816"/>
          </a:xfrm>
          <a:prstGeom prst="rect">
            <a:avLst/>
          </a:prstGeom>
          <a:ln>
            <a:noFill/>
          </a:ln>
          <a:effectLst>
            <a:outerShdw blurRad="292100" dist="139700" dir="2700000" algn="tl" rotWithShape="0">
              <a:srgbClr val="333333">
                <a:alpha val="65000"/>
              </a:srgbClr>
            </a:outerShdw>
          </a:effectLst>
        </p:spPr>
      </p:pic>
      <p:sp>
        <p:nvSpPr>
          <p:cNvPr id="9" name="Footer Placeholder 4">
            <a:extLst>
              <a:ext uri="{FF2B5EF4-FFF2-40B4-BE49-F238E27FC236}">
                <a16:creationId xmlns:a16="http://schemas.microsoft.com/office/drawing/2014/main" id="{8835F811-BDE2-2A92-06C4-1A0C057C2DB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4139698663"/>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199" y="3811417"/>
            <a:ext cx="10824029" cy="1538883"/>
          </a:xfrm>
        </p:spPr>
        <p:txBody>
          <a:bodyPr/>
          <a:lstStyle/>
          <a:p>
            <a:pPr>
              <a:lnSpc>
                <a:spcPts val="6000"/>
              </a:lnSpc>
              <a:spcBef>
                <a:spcPts val="0"/>
              </a:spcBef>
            </a:pPr>
            <a:r>
              <a:rPr lang="en-US" sz="5400"/>
              <a:t>Report examples of </a:t>
            </a:r>
            <a:br>
              <a:rPr lang="en-FI" sz="5400"/>
            </a:br>
            <a:r>
              <a:rPr lang="en-US" sz="5400"/>
              <a:t>Power BI Dashboard</a:t>
            </a:r>
          </a:p>
        </p:txBody>
      </p:sp>
      <p:sp>
        <p:nvSpPr>
          <p:cNvPr id="2" name="Text Placeholder 1">
            <a:extLst>
              <a:ext uri="{FF2B5EF4-FFF2-40B4-BE49-F238E27FC236}">
                <a16:creationId xmlns:a16="http://schemas.microsoft.com/office/drawing/2014/main" id="{482FEA19-2650-4EE7-9268-C5AD0D758CBB}"/>
              </a:ext>
            </a:extLst>
          </p:cNvPr>
          <p:cNvSpPr>
            <a:spLocks noGrp="1"/>
          </p:cNvSpPr>
          <p:nvPr>
            <p:ph type="body" sz="quarter" idx="12"/>
          </p:nvPr>
        </p:nvSpPr>
        <p:spPr/>
        <p:txBody>
          <a:bodyPr/>
          <a:lstStyle/>
          <a:p>
            <a:endParaRPr lang="en-US"/>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251379341"/>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Digital Transformation is Powered By People</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a:xfrm>
            <a:off x="655637" y="786383"/>
            <a:ext cx="11536363" cy="621731"/>
          </a:xfrm>
        </p:spPr>
        <p:txBody>
          <a:bodyPr>
            <a:normAutofit/>
          </a:bodyPr>
          <a:lstStyle/>
          <a:p>
            <a:pPr lvl="1"/>
            <a:r>
              <a:rPr lang="en-US"/>
              <a:t>End users will be creating many more apps than experienced developers in the coming years</a:t>
            </a:r>
          </a:p>
        </p:txBody>
      </p:sp>
      <p:sp>
        <p:nvSpPr>
          <p:cNvPr id="31" name="Hexagon 30">
            <a:extLst>
              <a:ext uri="{FF2B5EF4-FFF2-40B4-BE49-F238E27FC236}">
                <a16:creationId xmlns:a16="http://schemas.microsoft.com/office/drawing/2014/main" id="{8CA4DB6E-1A5C-4223-9461-14B4B8D214EC}"/>
              </a:ext>
            </a:extLst>
          </p:cNvPr>
          <p:cNvSpPr/>
          <p:nvPr/>
        </p:nvSpPr>
        <p:spPr bwMode="auto">
          <a:xfrm>
            <a:off x="1985483" y="2936965"/>
            <a:ext cx="4357427" cy="3756402"/>
          </a:xfrm>
          <a:prstGeom prst="hexagon">
            <a:avLst/>
          </a:prstGeom>
          <a:noFill/>
          <a:ln w="3175"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2" name="Freeform: Shape 31">
            <a:extLst>
              <a:ext uri="{FF2B5EF4-FFF2-40B4-BE49-F238E27FC236}">
                <a16:creationId xmlns:a16="http://schemas.microsoft.com/office/drawing/2014/main" id="{44DE6F09-7BBD-41FE-A410-F87D54C894E5}"/>
              </a:ext>
            </a:extLst>
          </p:cNvPr>
          <p:cNvSpPr/>
          <p:nvPr/>
        </p:nvSpPr>
        <p:spPr bwMode="auto">
          <a:xfrm>
            <a:off x="883" y="2073544"/>
            <a:ext cx="4693885" cy="3910795"/>
          </a:xfrm>
          <a:custGeom>
            <a:avLst/>
            <a:gdLst>
              <a:gd name="connsiteX0" fmla="*/ 0 w 4694551"/>
              <a:gd name="connsiteY0" fmla="*/ 0 h 3911350"/>
              <a:gd name="connsiteX1" fmla="*/ 3716713 w 4694551"/>
              <a:gd name="connsiteY1" fmla="*/ 0 h 3911350"/>
              <a:gd name="connsiteX2" fmla="*/ 4694551 w 4694551"/>
              <a:gd name="connsiteY2" fmla="*/ 1955675 h 3911350"/>
              <a:gd name="connsiteX3" fmla="*/ 3716713 w 4694551"/>
              <a:gd name="connsiteY3" fmla="*/ 3911350 h 3911350"/>
              <a:gd name="connsiteX4" fmla="*/ 0 w 4694551"/>
              <a:gd name="connsiteY4" fmla="*/ 3911350 h 391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4551" h="3911350">
                <a:moveTo>
                  <a:pt x="0" y="0"/>
                </a:moveTo>
                <a:lnTo>
                  <a:pt x="3716713" y="0"/>
                </a:lnTo>
                <a:lnTo>
                  <a:pt x="4694551" y="1955675"/>
                </a:lnTo>
                <a:lnTo>
                  <a:pt x="3716713" y="3911350"/>
                </a:lnTo>
                <a:lnTo>
                  <a:pt x="0" y="3911350"/>
                </a:lnTo>
                <a:close/>
              </a:path>
            </a:pathLst>
          </a:cu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9577963C-ACD8-4201-BC3F-A40221D2A3AC}"/>
              </a:ext>
            </a:extLst>
          </p:cNvPr>
          <p:cNvGrpSpPr>
            <a:grpSpLocks noChangeAspect="1"/>
          </p:cNvGrpSpPr>
          <p:nvPr/>
        </p:nvGrpSpPr>
        <p:grpSpPr>
          <a:xfrm>
            <a:off x="8746614" y="3088699"/>
            <a:ext cx="966955" cy="1052497"/>
            <a:chOff x="5551955" y="2199501"/>
            <a:chExt cx="772159" cy="840468"/>
          </a:xfrm>
        </p:grpSpPr>
        <p:sp>
          <p:nvSpPr>
            <p:cNvPr id="34" name="Freeform: Shape 33">
              <a:extLst>
                <a:ext uri="{FF2B5EF4-FFF2-40B4-BE49-F238E27FC236}">
                  <a16:creationId xmlns:a16="http://schemas.microsoft.com/office/drawing/2014/main" id="{44538870-8CFB-4624-9A8F-5E4EFB79DF53}"/>
                </a:ext>
              </a:extLst>
            </p:cNvPr>
            <p:cNvSpPr/>
            <p:nvPr/>
          </p:nvSpPr>
          <p:spPr>
            <a:xfrm>
              <a:off x="5551955" y="2570733"/>
              <a:ext cx="772159" cy="445477"/>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35" name="Freeform: Shape 34">
              <a:extLst>
                <a:ext uri="{FF2B5EF4-FFF2-40B4-BE49-F238E27FC236}">
                  <a16:creationId xmlns:a16="http://schemas.microsoft.com/office/drawing/2014/main" id="{91B55CD1-3ED4-4FE8-94F7-E3AD4BC08AA6}"/>
                </a:ext>
              </a:extLst>
            </p:cNvPr>
            <p:cNvSpPr/>
            <p:nvPr/>
          </p:nvSpPr>
          <p:spPr>
            <a:xfrm>
              <a:off x="5686220" y="2742984"/>
              <a:ext cx="504873" cy="296985"/>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36" name="Freeform: Shape 35">
              <a:extLst>
                <a:ext uri="{FF2B5EF4-FFF2-40B4-BE49-F238E27FC236}">
                  <a16:creationId xmlns:a16="http://schemas.microsoft.com/office/drawing/2014/main" id="{ED11E7C7-246E-4786-8FCE-7C7A8C1A984B}"/>
                </a:ext>
              </a:extLst>
            </p:cNvPr>
            <p:cNvSpPr/>
            <p:nvPr/>
          </p:nvSpPr>
          <p:spPr>
            <a:xfrm>
              <a:off x="5778284" y="2199501"/>
              <a:ext cx="326683" cy="326683"/>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sp>
        <p:nvSpPr>
          <p:cNvPr id="37" name="TextBox 36">
            <a:extLst>
              <a:ext uri="{FF2B5EF4-FFF2-40B4-BE49-F238E27FC236}">
                <a16:creationId xmlns:a16="http://schemas.microsoft.com/office/drawing/2014/main" id="{D6746BE4-0297-45E8-BB81-FBD3B1AB7854}"/>
              </a:ext>
            </a:extLst>
          </p:cNvPr>
          <p:cNvSpPr txBox="1"/>
          <p:nvPr/>
        </p:nvSpPr>
        <p:spPr>
          <a:xfrm>
            <a:off x="7567756" y="4201604"/>
            <a:ext cx="3324671" cy="537779"/>
          </a:xfrm>
          <a:prstGeom prst="rect">
            <a:avLst/>
          </a:prstGeom>
          <a:noFill/>
        </p:spPr>
        <p:txBody>
          <a:bodyPr wrap="none" lIns="0" tIns="0" rIns="0" bIns="0" rtlCol="0" anchor="ctr">
            <a:noAutofit/>
          </a:bodyPr>
          <a:lstStyle/>
          <a:p>
            <a:pPr algn="ctr" defTabSz="914191">
              <a:spcAft>
                <a:spcPts val="587"/>
              </a:spcAft>
              <a:defRPr/>
            </a:pPr>
            <a:r>
              <a:rPr lang="en-US" sz="2400">
                <a:solidFill>
                  <a:srgbClr val="000000"/>
                </a:solidFill>
                <a:latin typeface="Segoe UI Semibold"/>
              </a:rPr>
              <a:t>Experienced Developers</a:t>
            </a:r>
          </a:p>
        </p:txBody>
      </p:sp>
      <p:sp>
        <p:nvSpPr>
          <p:cNvPr id="38" name="TextBox 37">
            <a:extLst>
              <a:ext uri="{FF2B5EF4-FFF2-40B4-BE49-F238E27FC236}">
                <a16:creationId xmlns:a16="http://schemas.microsoft.com/office/drawing/2014/main" id="{EAE1CF24-3DBC-4E87-BE9F-11A0B12BFC5D}"/>
              </a:ext>
            </a:extLst>
          </p:cNvPr>
          <p:cNvSpPr txBox="1"/>
          <p:nvPr/>
        </p:nvSpPr>
        <p:spPr>
          <a:xfrm>
            <a:off x="5159583" y="4362800"/>
            <a:ext cx="944770" cy="916822"/>
          </a:xfrm>
          <a:prstGeom prst="rect">
            <a:avLst/>
          </a:prstGeom>
          <a:noFill/>
        </p:spPr>
        <p:txBody>
          <a:bodyPr wrap="none" lIns="182854" tIns="146283" rIns="182854" bIns="146283" rtlCol="0">
            <a:spAutoFit/>
          </a:bodyPr>
          <a:lstStyle/>
          <a:p>
            <a:pPr marL="0" marR="0" lvl="0" indent="0" algn="r" defTabSz="932563" eaLnBrk="1" fontAlgn="auto" latinLnBrk="0" hangingPunct="1">
              <a:lnSpc>
                <a:spcPct val="90000"/>
              </a:lnSpc>
              <a:spcBef>
                <a:spcPts val="0"/>
              </a:spcBef>
              <a:spcAft>
                <a:spcPts val="600"/>
              </a:spcAft>
              <a:buClrTx/>
              <a:buSzTx/>
              <a:buFontTx/>
              <a:buNone/>
              <a:tabLst/>
              <a:defRPr/>
            </a:pPr>
            <a:r>
              <a:rPr kumimoji="0" lang="en-US" sz="4399" b="0" i="0" u="none" strike="noStrike" kern="0" cap="none" spc="0" normalizeH="0" baseline="0" noProof="0">
                <a:ln>
                  <a:noFill/>
                </a:ln>
                <a:solidFill>
                  <a:srgbClr val="742774"/>
                </a:solidFill>
                <a:effectLst/>
                <a:uLnTx/>
                <a:uFillTx/>
              </a:rPr>
              <a:t>4x</a:t>
            </a:r>
          </a:p>
        </p:txBody>
      </p:sp>
      <p:cxnSp>
        <p:nvCxnSpPr>
          <p:cNvPr id="39" name="Straight Connector 38">
            <a:extLst>
              <a:ext uri="{FF2B5EF4-FFF2-40B4-BE49-F238E27FC236}">
                <a16:creationId xmlns:a16="http://schemas.microsoft.com/office/drawing/2014/main" id="{5E309334-86DD-4EAB-A426-952AB4EFF1F6}"/>
              </a:ext>
            </a:extLst>
          </p:cNvPr>
          <p:cNvCxnSpPr>
            <a:cxnSpLocks/>
          </p:cNvCxnSpPr>
          <p:nvPr/>
        </p:nvCxnSpPr>
        <p:spPr>
          <a:xfrm>
            <a:off x="6451567" y="4815165"/>
            <a:ext cx="5557050" cy="0"/>
          </a:xfrm>
          <a:prstGeom prst="line">
            <a:avLst/>
          </a:prstGeom>
          <a:noFill/>
          <a:ln w="3175" cap="flat" cmpd="sng" algn="ctr">
            <a:solidFill>
              <a:srgbClr val="FFFFFF">
                <a:lumMod val="85000"/>
              </a:srgbClr>
            </a:solidFill>
            <a:prstDash val="solid"/>
            <a:headEnd type="none" w="med" len="med"/>
            <a:tailEnd type="none" w="med" len="med"/>
          </a:ln>
          <a:effectLst/>
        </p:spPr>
      </p:cxnSp>
      <p:sp>
        <p:nvSpPr>
          <p:cNvPr id="40" name="Arrow: Chevron 39">
            <a:extLst>
              <a:ext uri="{FF2B5EF4-FFF2-40B4-BE49-F238E27FC236}">
                <a16:creationId xmlns:a16="http://schemas.microsoft.com/office/drawing/2014/main" id="{99C9777A-F1E4-4D32-A9EA-7399C5D8FCDB}"/>
              </a:ext>
            </a:extLst>
          </p:cNvPr>
          <p:cNvSpPr/>
          <p:nvPr/>
        </p:nvSpPr>
        <p:spPr bwMode="auto">
          <a:xfrm>
            <a:off x="6262053" y="4572884"/>
            <a:ext cx="153614" cy="484563"/>
          </a:xfrm>
          <a:prstGeom prst="chevron">
            <a:avLst>
              <a:gd name="adj" fmla="val 77279"/>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62BC7FB3-121D-4F4E-972B-1008186B6491}"/>
              </a:ext>
            </a:extLst>
          </p:cNvPr>
          <p:cNvGrpSpPr/>
          <p:nvPr/>
        </p:nvGrpSpPr>
        <p:grpSpPr>
          <a:xfrm>
            <a:off x="1057777" y="3082499"/>
            <a:ext cx="1584560" cy="1953655"/>
            <a:chOff x="1554620" y="3103723"/>
            <a:chExt cx="1584784" cy="1953932"/>
          </a:xfrm>
        </p:grpSpPr>
        <p:sp>
          <p:nvSpPr>
            <p:cNvPr id="42" name="people_12" title="Icon of three people">
              <a:extLst>
                <a:ext uri="{FF2B5EF4-FFF2-40B4-BE49-F238E27FC236}">
                  <a16:creationId xmlns:a16="http://schemas.microsoft.com/office/drawing/2014/main" id="{1CE1146C-3761-44BE-BB7A-49BD6E8FD9FA}"/>
                </a:ext>
              </a:extLst>
            </p:cNvPr>
            <p:cNvSpPr>
              <a:spLocks noChangeAspect="1" noEditPoints="1"/>
            </p:cNvSpPr>
            <p:nvPr/>
          </p:nvSpPr>
          <p:spPr bwMode="auto">
            <a:xfrm>
              <a:off x="1570357" y="3103723"/>
              <a:ext cx="1553308" cy="132524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43" name="Rectangle 42">
              <a:extLst>
                <a:ext uri="{FF2B5EF4-FFF2-40B4-BE49-F238E27FC236}">
                  <a16:creationId xmlns:a16="http://schemas.microsoft.com/office/drawing/2014/main" id="{0FFA4D15-D0BA-440B-B765-565A16E554E6}"/>
                </a:ext>
              </a:extLst>
            </p:cNvPr>
            <p:cNvSpPr/>
            <p:nvPr/>
          </p:nvSpPr>
          <p:spPr>
            <a:xfrm>
              <a:off x="1554620" y="4586733"/>
              <a:ext cx="1584784" cy="470922"/>
            </a:xfrm>
            <a:prstGeom prst="rect">
              <a:avLst/>
            </a:prstGeom>
            <a:ln>
              <a:noFill/>
            </a:ln>
          </p:spPr>
          <p:txBody>
            <a:bodyPr wrap="none">
              <a:spAutoFit/>
            </a:bodyPr>
            <a:lstStyle/>
            <a:p>
              <a:pPr marL="0" marR="0" lvl="0" indent="0" algn="ctr" defTabSz="914191" eaLnBrk="1" fontAlgn="auto" latinLnBrk="0" hangingPunct="1">
                <a:lnSpc>
                  <a:spcPct val="100000"/>
                </a:lnSpc>
                <a:spcBef>
                  <a:spcPts val="0"/>
                </a:spcBef>
                <a:spcAft>
                  <a:spcPts val="587"/>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a:rPr>
                <a:t>End Users</a:t>
              </a:r>
            </a:p>
          </p:txBody>
        </p:sp>
      </p:grpSp>
      <p:sp>
        <p:nvSpPr>
          <p:cNvPr id="3" name="Footer Placeholder 4">
            <a:extLst>
              <a:ext uri="{FF2B5EF4-FFF2-40B4-BE49-F238E27FC236}">
                <a16:creationId xmlns:a16="http://schemas.microsoft.com/office/drawing/2014/main" id="{B77E2C8E-B846-CE8F-5283-C33A72B2EFE3}"/>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523176245"/>
      </p:ext>
    </p:extLst>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de-DE"/>
              <a:t>Overview – Apps, Flows, Chatbots </a:t>
            </a:r>
            <a:endParaRPr lang="en-US" noProof="1"/>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532511"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For Apps, Flow and Chatbots there are Overview </a:t>
            </a:r>
            <a:r>
              <a:rPr lang="en-US" sz="2000">
                <a:solidFill>
                  <a:srgbClr val="3C3C41"/>
                </a:solidFill>
                <a:latin typeface="Segoe UI"/>
              </a:rPr>
              <a:t>pages providing</a:t>
            </a:r>
            <a:r>
              <a:rPr kumimoji="0" lang="en-US" sz="2000" b="0" i="0" u="none" strike="noStrike" kern="1200" cap="none" spc="-49" normalizeH="0" baseline="0" noProof="0">
                <a:ln>
                  <a:noFill/>
                </a:ln>
                <a:solidFill>
                  <a:srgbClr val="3C3C41"/>
                </a:solidFill>
                <a:effectLst/>
                <a:uLnTx/>
                <a:uFillTx/>
                <a:latin typeface="Segoe UI"/>
                <a:ea typeface="+mn-ea"/>
                <a:cs typeface="+mn-cs"/>
              </a:rPr>
              <a:t> you with a tenant-wide overview of resources:</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environments (and environments created this month)</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environment makers</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custom connectors</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apps, app makers, and apps created this month</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flows, flow makers, and flows created this month</a:t>
            </a:r>
          </a:p>
          <a:p>
            <a:pPr marL="285750" marR="0" lvl="0" indent="-28575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bots, bot makers, and bots created this month</a:t>
            </a:r>
            <a:endParaRPr kumimoji="0" lang="en-US" sz="2000" b="0" i="0" u="none" strike="noStrike" kern="1200" cap="none" spc="-49" normalizeH="0" baseline="0" noProof="0">
              <a:ln>
                <a:noFill/>
              </a:ln>
              <a:solidFill>
                <a:srgbClr val="3C3C41"/>
              </a:solidFill>
              <a:effectLst/>
              <a:uLnTx/>
              <a:uFillTx/>
              <a:latin typeface="Segoe UI"/>
              <a:ea typeface="+mn-ea"/>
              <a:cs typeface="+mn-cs"/>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621474-5DE9-4C55-BE46-9463B60ABD5B}"/>
              </a:ext>
            </a:extLst>
          </p:cNvPr>
          <p:cNvGrpSpPr/>
          <p:nvPr/>
        </p:nvGrpSpPr>
        <p:grpSpPr>
          <a:xfrm>
            <a:off x="5556282" y="890706"/>
            <a:ext cx="8289598" cy="5520794"/>
            <a:chOff x="6976257" y="1612338"/>
            <a:chExt cx="5312499" cy="3538074"/>
          </a:xfrm>
        </p:grpSpPr>
        <p:sp>
          <p:nvSpPr>
            <p:cNvPr id="9" name="Rectangle 8">
              <a:extLst>
                <a:ext uri="{FF2B5EF4-FFF2-40B4-BE49-F238E27FC236}">
                  <a16:creationId xmlns:a16="http://schemas.microsoft.com/office/drawing/2014/main" id="{748BEFEA-8948-4F37-B80E-5C0610D10F19}"/>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https://pbiwebprod.blob.core.windows.net/webassets/images/Homepage_metal_large_2.png">
              <a:extLst>
                <a:ext uri="{FF2B5EF4-FFF2-40B4-BE49-F238E27FC236}">
                  <a16:creationId xmlns:a16="http://schemas.microsoft.com/office/drawing/2014/main" id="{725D70C6-9800-4102-8858-2BFCEAEF139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6" name="Picture 5">
            <a:extLst>
              <a:ext uri="{FF2B5EF4-FFF2-40B4-BE49-F238E27FC236}">
                <a16:creationId xmlns:a16="http://schemas.microsoft.com/office/drawing/2014/main" id="{AF36FE6F-94E3-4105-9EC4-941885528941}"/>
              </a:ext>
            </a:extLst>
          </p:cNvPr>
          <p:cNvPicPr>
            <a:picLocks noChangeAspect="1"/>
          </p:cNvPicPr>
          <p:nvPr/>
        </p:nvPicPr>
        <p:blipFill>
          <a:blip r:embed="rId6"/>
          <a:stretch>
            <a:fillRect/>
          </a:stretch>
        </p:blipFill>
        <p:spPr>
          <a:xfrm>
            <a:off x="6642773" y="1897297"/>
            <a:ext cx="5818586" cy="3626323"/>
          </a:xfrm>
          <a:prstGeom prst="rect">
            <a:avLst/>
          </a:prstGeom>
        </p:spPr>
      </p:pic>
    </p:spTree>
    <p:custDataLst>
      <p:tags r:id="rId1"/>
    </p:custDataLst>
    <p:extLst>
      <p:ext uri="{BB962C8B-B14F-4D97-AF65-F5344CB8AC3E}">
        <p14:creationId xmlns:p14="http://schemas.microsoft.com/office/powerpoint/2010/main" val="1954472110"/>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de-DE"/>
              <a:t>Environments</a:t>
            </a:r>
            <a:endParaRPr lang="en-US" noProof="1"/>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532511"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he Environments page shows you how many environments, environment makers, and Microsoft </a:t>
            </a:r>
            <a:r>
              <a:rPr kumimoji="0" lang="en-US" sz="2000" b="0" i="0" u="none" strike="noStrike" kern="1200" cap="none" spc="-49" normalizeH="0" baseline="0" noProof="0" err="1">
                <a:ln>
                  <a:noFill/>
                </a:ln>
                <a:solidFill>
                  <a:srgbClr val="3C3C41"/>
                </a:solidFill>
                <a:effectLst/>
                <a:uLnTx/>
                <a:uFillTx/>
                <a:latin typeface="Segoe UI"/>
                <a:ea typeface="+mn-ea"/>
                <a:cs typeface="+mn-cs"/>
              </a:rPr>
              <a:t>Dataverse</a:t>
            </a:r>
            <a:r>
              <a:rPr kumimoji="0" lang="en-US" sz="2000" b="0" i="0" u="none" strike="noStrike" kern="1200" cap="none" spc="-49" normalizeH="0" baseline="0" noProof="0">
                <a:ln>
                  <a:noFill/>
                </a:ln>
                <a:solidFill>
                  <a:srgbClr val="3C3C41"/>
                </a:solidFill>
                <a:effectLst/>
                <a:uLnTx/>
                <a:uFillTx/>
                <a:latin typeface="Segoe UI"/>
                <a:ea typeface="+mn-ea"/>
                <a:cs typeface="+mn-cs"/>
              </a:rPr>
              <a:t> instances you have.</a:t>
            </a: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he graphs visualiz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he environment creation trend by environment typ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he number of resources per environment</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he number of environments by typ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p environment creators</a:t>
            </a:r>
            <a:endParaRPr kumimoji="0" lang="en-US" sz="1600" b="0" i="0" u="none" strike="noStrike" kern="1200" cap="none" spc="-49" normalizeH="0" baseline="0" noProof="0">
              <a:ln>
                <a:noFill/>
              </a:ln>
              <a:solidFill>
                <a:srgbClr val="3C3C41"/>
              </a:solidFill>
              <a:effectLst/>
              <a:uLnTx/>
              <a:uFillTx/>
              <a:latin typeface="Segoe UI"/>
              <a:ea typeface="+mn-ea"/>
              <a:cs typeface="+mn-cs"/>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621474-5DE9-4C55-BE46-9463B60ABD5B}"/>
              </a:ext>
            </a:extLst>
          </p:cNvPr>
          <p:cNvGrpSpPr/>
          <p:nvPr/>
        </p:nvGrpSpPr>
        <p:grpSpPr>
          <a:xfrm>
            <a:off x="5556282" y="890706"/>
            <a:ext cx="8289598" cy="5520794"/>
            <a:chOff x="6976257" y="1612338"/>
            <a:chExt cx="5312499" cy="3538074"/>
          </a:xfrm>
        </p:grpSpPr>
        <p:sp>
          <p:nvSpPr>
            <p:cNvPr id="9" name="Rectangle 8">
              <a:extLst>
                <a:ext uri="{FF2B5EF4-FFF2-40B4-BE49-F238E27FC236}">
                  <a16:creationId xmlns:a16="http://schemas.microsoft.com/office/drawing/2014/main" id="{748BEFEA-8948-4F37-B80E-5C0610D10F19}"/>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https://pbiwebprod.blob.core.windows.net/webassets/images/Homepage_metal_large_2.png">
              <a:extLst>
                <a:ext uri="{FF2B5EF4-FFF2-40B4-BE49-F238E27FC236}">
                  <a16:creationId xmlns:a16="http://schemas.microsoft.com/office/drawing/2014/main" id="{725D70C6-9800-4102-8858-2BFCEAEF139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5" name="Picture 4">
            <a:extLst>
              <a:ext uri="{FF2B5EF4-FFF2-40B4-BE49-F238E27FC236}">
                <a16:creationId xmlns:a16="http://schemas.microsoft.com/office/drawing/2014/main" id="{6450CED3-067D-43AD-8468-61438E562138}"/>
              </a:ext>
            </a:extLst>
          </p:cNvPr>
          <p:cNvPicPr>
            <a:picLocks noChangeAspect="1"/>
          </p:cNvPicPr>
          <p:nvPr/>
        </p:nvPicPr>
        <p:blipFill>
          <a:blip r:embed="rId6"/>
          <a:stretch>
            <a:fillRect/>
          </a:stretch>
        </p:blipFill>
        <p:spPr>
          <a:xfrm>
            <a:off x="6641795" y="1897296"/>
            <a:ext cx="5963834" cy="3621001"/>
          </a:xfrm>
          <a:prstGeom prst="rect">
            <a:avLst/>
          </a:prstGeom>
        </p:spPr>
      </p:pic>
    </p:spTree>
    <p:custDataLst>
      <p:tags r:id="rId1"/>
    </p:custDataLst>
    <p:extLst>
      <p:ext uri="{BB962C8B-B14F-4D97-AF65-F5344CB8AC3E}">
        <p14:creationId xmlns:p14="http://schemas.microsoft.com/office/powerpoint/2010/main" val="3001067430"/>
      </p:ext>
    </p:extLst>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de-DE" dirty="0"/>
              <a:t>Microsoft Teams Environments</a:t>
            </a:r>
            <a:endParaRPr lang="en-US" noProof="1"/>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532511"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Microsoft Teams Environments page shows you the number of Microsoft Teams environments, environment makers, and resources in those environments you have</a:t>
            </a:r>
            <a:r>
              <a:rPr lang="en-US" sz="2000" spc="-49" dirty="0">
                <a:solidFill>
                  <a:srgbClr val="3C3C41"/>
                </a:solidFill>
                <a:latin typeface="Segoe UI"/>
                <a:cs typeface="+mn-cs"/>
              </a:rPr>
              <a:t>.</a:t>
            </a:r>
            <a:endParaRPr kumimoji="0" lang="en-US" sz="2000" b="0" i="0" u="none" strike="noStrike" kern="1200" cap="none" spc="-49" normalizeH="0" baseline="0" noProof="0" dirty="0">
              <a:ln>
                <a:noFill/>
              </a:ln>
              <a:solidFill>
                <a:srgbClr val="3C3C41"/>
              </a:solidFill>
              <a:effectLst/>
              <a:uLnTx/>
              <a:uFillTx/>
              <a:latin typeface="Segoe UI"/>
              <a:ea typeface="+mn-ea"/>
              <a:cs typeface="+mn-cs"/>
            </a:endParaRP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The graphs visualiz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he environment creation trend</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dirty="0">
                <a:ln>
                  <a:noFill/>
                </a:ln>
                <a:solidFill>
                  <a:srgbClr val="3C3C41"/>
                </a:solidFill>
                <a:effectLst/>
                <a:uLnTx/>
                <a:uFillTx/>
                <a:latin typeface="Segoe UI"/>
                <a:ea typeface="+mn-ea"/>
                <a:cs typeface="+mn-cs"/>
              </a:rPr>
              <a:t>The number of resources per environment</a:t>
            </a:r>
            <a:endParaRPr kumimoji="0" lang="en-US" sz="1400" b="0" i="0" u="none" strike="noStrike" kern="1200" cap="none" spc="-49" normalizeH="0" baseline="0" noProof="0" dirty="0">
              <a:ln>
                <a:noFill/>
              </a:ln>
              <a:solidFill>
                <a:srgbClr val="3C3C41"/>
              </a:solidFill>
              <a:effectLst/>
              <a:uLnTx/>
              <a:uFillTx/>
              <a:latin typeface="Segoe UI"/>
              <a:ea typeface="+mn-ea"/>
              <a:cs typeface="+mn-cs"/>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621474-5DE9-4C55-BE46-9463B60ABD5B}"/>
              </a:ext>
            </a:extLst>
          </p:cNvPr>
          <p:cNvGrpSpPr/>
          <p:nvPr/>
        </p:nvGrpSpPr>
        <p:grpSpPr>
          <a:xfrm>
            <a:off x="5556282" y="890706"/>
            <a:ext cx="8289598" cy="5520794"/>
            <a:chOff x="6976257" y="1612338"/>
            <a:chExt cx="5312499" cy="3538074"/>
          </a:xfrm>
        </p:grpSpPr>
        <p:sp>
          <p:nvSpPr>
            <p:cNvPr id="9" name="Rectangle 8">
              <a:extLst>
                <a:ext uri="{FF2B5EF4-FFF2-40B4-BE49-F238E27FC236}">
                  <a16:creationId xmlns:a16="http://schemas.microsoft.com/office/drawing/2014/main" id="{748BEFEA-8948-4F37-B80E-5C0610D10F19}"/>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https://pbiwebprod.blob.core.windows.net/webassets/images/Homepage_metal_large_2.png">
              <a:extLst>
                <a:ext uri="{FF2B5EF4-FFF2-40B4-BE49-F238E27FC236}">
                  <a16:creationId xmlns:a16="http://schemas.microsoft.com/office/drawing/2014/main" id="{725D70C6-9800-4102-8858-2BFCEAEF139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6" name="Picture 5">
            <a:extLst>
              <a:ext uri="{FF2B5EF4-FFF2-40B4-BE49-F238E27FC236}">
                <a16:creationId xmlns:a16="http://schemas.microsoft.com/office/drawing/2014/main" id="{A2A57F1D-F0D5-4AE7-BA6B-05B01288F4F9}"/>
              </a:ext>
            </a:extLst>
          </p:cNvPr>
          <p:cNvPicPr>
            <a:picLocks noChangeAspect="1"/>
          </p:cNvPicPr>
          <p:nvPr/>
        </p:nvPicPr>
        <p:blipFill>
          <a:blip r:embed="rId6"/>
          <a:stretch>
            <a:fillRect/>
          </a:stretch>
        </p:blipFill>
        <p:spPr>
          <a:xfrm>
            <a:off x="6649753" y="1897296"/>
            <a:ext cx="5928563" cy="3624167"/>
          </a:xfrm>
          <a:prstGeom prst="rect">
            <a:avLst/>
          </a:prstGeom>
        </p:spPr>
      </p:pic>
    </p:spTree>
    <p:custDataLst>
      <p:tags r:id="rId1"/>
    </p:custDataLst>
    <p:extLst>
      <p:ext uri="{BB962C8B-B14F-4D97-AF65-F5344CB8AC3E}">
        <p14:creationId xmlns:p14="http://schemas.microsoft.com/office/powerpoint/2010/main" val="4203379926"/>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de-DE"/>
              <a:t>Apps</a:t>
            </a:r>
            <a:endParaRPr lang="en-US" noProof="1"/>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532511"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he Apps page provides an overview of apps in your environment:</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app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apps created this month</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app maker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otal number of canvas apps and model-driven app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The number of production apps (a production app has had 50 active sessions, or active sessions by five unique users, in a month)</a:t>
            </a:r>
            <a:endParaRPr kumimoji="0" lang="en-US" sz="1400" b="0" i="0" u="none" strike="noStrike" kern="1200" cap="none" spc="-49" normalizeH="0" baseline="0" noProof="0">
              <a:ln>
                <a:noFill/>
              </a:ln>
              <a:solidFill>
                <a:srgbClr val="3C3C41"/>
              </a:solidFill>
              <a:effectLst/>
              <a:uLnTx/>
              <a:uFillTx/>
              <a:latin typeface="Segoe UI"/>
              <a:ea typeface="+mn-ea"/>
              <a:cs typeface="+mn-cs"/>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621474-5DE9-4C55-BE46-9463B60ABD5B}"/>
              </a:ext>
            </a:extLst>
          </p:cNvPr>
          <p:cNvGrpSpPr/>
          <p:nvPr/>
        </p:nvGrpSpPr>
        <p:grpSpPr>
          <a:xfrm>
            <a:off x="5556282" y="890706"/>
            <a:ext cx="8289598" cy="5520794"/>
            <a:chOff x="6976257" y="1612338"/>
            <a:chExt cx="5312499" cy="3538074"/>
          </a:xfrm>
        </p:grpSpPr>
        <p:sp>
          <p:nvSpPr>
            <p:cNvPr id="9" name="Rectangle 8">
              <a:extLst>
                <a:ext uri="{FF2B5EF4-FFF2-40B4-BE49-F238E27FC236}">
                  <a16:creationId xmlns:a16="http://schemas.microsoft.com/office/drawing/2014/main" id="{748BEFEA-8948-4F37-B80E-5C0610D10F19}"/>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https://pbiwebprod.blob.core.windows.net/webassets/images/Homepage_metal_large_2.png">
              <a:extLst>
                <a:ext uri="{FF2B5EF4-FFF2-40B4-BE49-F238E27FC236}">
                  <a16:creationId xmlns:a16="http://schemas.microsoft.com/office/drawing/2014/main" id="{725D70C6-9800-4102-8858-2BFCEAEF139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5" name="Picture 4">
            <a:extLst>
              <a:ext uri="{FF2B5EF4-FFF2-40B4-BE49-F238E27FC236}">
                <a16:creationId xmlns:a16="http://schemas.microsoft.com/office/drawing/2014/main" id="{4D73C628-1CBC-44D8-969D-AE378EC33BFB}"/>
              </a:ext>
            </a:extLst>
          </p:cNvPr>
          <p:cNvPicPr>
            <a:picLocks noChangeAspect="1"/>
          </p:cNvPicPr>
          <p:nvPr/>
        </p:nvPicPr>
        <p:blipFill>
          <a:blip r:embed="rId6"/>
          <a:stretch>
            <a:fillRect/>
          </a:stretch>
        </p:blipFill>
        <p:spPr>
          <a:xfrm>
            <a:off x="6653405" y="1883046"/>
            <a:ext cx="5754789" cy="3586563"/>
          </a:xfrm>
          <a:prstGeom prst="rect">
            <a:avLst/>
          </a:prstGeom>
        </p:spPr>
      </p:pic>
    </p:spTree>
    <p:custDataLst>
      <p:tags r:id="rId1"/>
    </p:custDataLst>
    <p:extLst>
      <p:ext uri="{BB962C8B-B14F-4D97-AF65-F5344CB8AC3E}">
        <p14:creationId xmlns:p14="http://schemas.microsoft.com/office/powerpoint/2010/main" val="2117549075"/>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de-DE"/>
              <a:t>Cloud Flows</a:t>
            </a:r>
            <a:endParaRPr lang="en-US" noProof="1"/>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532511"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he Cloud Flows page provides an overview of flows in your environment:</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otal number of flow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otal number of flows created this month</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otal number of flow maker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lang="en-US" sz="2000">
                <a:solidFill>
                  <a:srgbClr val="3C3C41"/>
                </a:solidFill>
                <a:latin typeface="Segoe UI"/>
              </a:rPr>
              <a:t>Flow creation trends</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op five environments</a:t>
            </a:r>
            <a:endParaRPr kumimoji="0" lang="en-US" sz="1400" b="0" i="0" u="none" strike="noStrike" kern="1200" cap="none" spc="-49" normalizeH="0" baseline="0" noProof="0">
              <a:ln>
                <a:noFill/>
              </a:ln>
              <a:solidFill>
                <a:srgbClr val="3C3C41"/>
              </a:solidFill>
              <a:effectLst/>
              <a:uLnTx/>
              <a:uFillTx/>
              <a:latin typeface="Segoe UI"/>
              <a:ea typeface="+mn-ea"/>
              <a:cs typeface="+mn-cs"/>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621474-5DE9-4C55-BE46-9463B60ABD5B}"/>
              </a:ext>
            </a:extLst>
          </p:cNvPr>
          <p:cNvGrpSpPr/>
          <p:nvPr/>
        </p:nvGrpSpPr>
        <p:grpSpPr>
          <a:xfrm>
            <a:off x="5196848" y="890706"/>
            <a:ext cx="8289598" cy="5520794"/>
            <a:chOff x="6976257" y="1612338"/>
            <a:chExt cx="5312499" cy="3538074"/>
          </a:xfrm>
        </p:grpSpPr>
        <p:sp>
          <p:nvSpPr>
            <p:cNvPr id="9" name="Rectangle 8">
              <a:extLst>
                <a:ext uri="{FF2B5EF4-FFF2-40B4-BE49-F238E27FC236}">
                  <a16:creationId xmlns:a16="http://schemas.microsoft.com/office/drawing/2014/main" id="{748BEFEA-8948-4F37-B80E-5C0610D10F19}"/>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https://pbiwebprod.blob.core.windows.net/webassets/images/Homepage_metal_large_2.png">
              <a:extLst>
                <a:ext uri="{FF2B5EF4-FFF2-40B4-BE49-F238E27FC236}">
                  <a16:creationId xmlns:a16="http://schemas.microsoft.com/office/drawing/2014/main" id="{725D70C6-9800-4102-8858-2BFCEAEF139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6" name="Picture 5">
            <a:extLst>
              <a:ext uri="{FF2B5EF4-FFF2-40B4-BE49-F238E27FC236}">
                <a16:creationId xmlns:a16="http://schemas.microsoft.com/office/drawing/2014/main" id="{04FDF4EE-469B-4A4D-A83C-15E534E6BC0E}"/>
              </a:ext>
            </a:extLst>
          </p:cNvPr>
          <p:cNvPicPr>
            <a:picLocks noChangeAspect="1"/>
          </p:cNvPicPr>
          <p:nvPr/>
        </p:nvPicPr>
        <p:blipFill>
          <a:blip r:embed="rId6"/>
          <a:stretch>
            <a:fillRect/>
          </a:stretch>
        </p:blipFill>
        <p:spPr>
          <a:xfrm>
            <a:off x="6650692" y="1897297"/>
            <a:ext cx="5693708" cy="3617384"/>
          </a:xfrm>
          <a:prstGeom prst="rect">
            <a:avLst/>
          </a:prstGeom>
        </p:spPr>
      </p:pic>
    </p:spTree>
    <p:custDataLst>
      <p:tags r:id="rId1"/>
    </p:custDataLst>
    <p:extLst>
      <p:ext uri="{BB962C8B-B14F-4D97-AF65-F5344CB8AC3E}">
        <p14:creationId xmlns:p14="http://schemas.microsoft.com/office/powerpoint/2010/main" val="4207813592"/>
      </p:ext>
    </p:extLst>
  </p:cSld>
  <p:clrMapOvr>
    <a:masterClrMapping/>
  </p:clrMapOvr>
  <p:transition spd="slow"/>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de-DE"/>
              <a:t>App / Flow Connections</a:t>
            </a:r>
            <a:endParaRPr lang="en-US" noProof="1"/>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532511"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he App &amp; Flow Connections pages shows which resources and makers are using which connectors and—at a high level—which resources and makers are using premium features.</a:t>
            </a: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The filters on this page are:</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Connector tier (premium or standard)</a:t>
            </a:r>
          </a:p>
          <a:p>
            <a:pPr marL="342900" marR="0" lvl="0" indent="-342900" algn="l" defTabSz="914192"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Connector (for example, Office 365 Users, </a:t>
            </a:r>
            <a:r>
              <a:rPr kumimoji="0" lang="en-US" sz="1800" b="0" i="0" u="none" strike="noStrike" kern="1200" cap="none" spc="-49" normalizeH="0" baseline="0" noProof="0" err="1">
                <a:ln>
                  <a:noFill/>
                </a:ln>
                <a:solidFill>
                  <a:srgbClr val="3C3C41"/>
                </a:solidFill>
                <a:effectLst/>
                <a:uLnTx/>
                <a:uFillTx/>
                <a:latin typeface="Segoe UI"/>
                <a:ea typeface="+mn-ea"/>
                <a:cs typeface="+mn-cs"/>
              </a:rPr>
              <a:t>Dataverse</a:t>
            </a:r>
            <a:r>
              <a:rPr kumimoji="0" lang="en-US" sz="1800" b="0" i="0" u="none" strike="noStrike" kern="1200" cap="none" spc="-49" normalizeH="0" baseline="0" noProof="0">
                <a:ln>
                  <a:noFill/>
                </a:ln>
                <a:solidFill>
                  <a:srgbClr val="3C3C41"/>
                </a:solidFill>
                <a:effectLst/>
                <a:uLnTx/>
                <a:uFillTx/>
                <a:latin typeface="Segoe UI"/>
                <a:ea typeface="+mn-ea"/>
                <a:cs typeface="+mn-cs"/>
              </a:rPr>
              <a:t>, Azure AD etc.)</a:t>
            </a:r>
            <a:endParaRPr kumimoji="0" lang="en-US" sz="1400" b="0" i="0" u="none" strike="noStrike" kern="1200" cap="none" spc="-49" normalizeH="0" baseline="0" noProof="0">
              <a:ln>
                <a:noFill/>
              </a:ln>
              <a:solidFill>
                <a:srgbClr val="3C3C41"/>
              </a:solidFill>
              <a:effectLst/>
              <a:uLnTx/>
              <a:uFillTx/>
              <a:latin typeface="Segoe UI"/>
              <a:ea typeface="+mn-ea"/>
              <a:cs typeface="+mn-cs"/>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621474-5DE9-4C55-BE46-9463B60ABD5B}"/>
              </a:ext>
            </a:extLst>
          </p:cNvPr>
          <p:cNvGrpSpPr/>
          <p:nvPr/>
        </p:nvGrpSpPr>
        <p:grpSpPr>
          <a:xfrm>
            <a:off x="5556282" y="890706"/>
            <a:ext cx="8289598" cy="5520794"/>
            <a:chOff x="6976257" y="1612338"/>
            <a:chExt cx="5312499" cy="3538074"/>
          </a:xfrm>
        </p:grpSpPr>
        <p:sp>
          <p:nvSpPr>
            <p:cNvPr id="9" name="Rectangle 8">
              <a:extLst>
                <a:ext uri="{FF2B5EF4-FFF2-40B4-BE49-F238E27FC236}">
                  <a16:creationId xmlns:a16="http://schemas.microsoft.com/office/drawing/2014/main" id="{748BEFEA-8948-4F37-B80E-5C0610D10F19}"/>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https://pbiwebprod.blob.core.windows.net/webassets/images/Homepage_metal_large_2.png">
              <a:extLst>
                <a:ext uri="{FF2B5EF4-FFF2-40B4-BE49-F238E27FC236}">
                  <a16:creationId xmlns:a16="http://schemas.microsoft.com/office/drawing/2014/main" id="{725D70C6-9800-4102-8858-2BFCEAEF139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5" name="Picture 4">
            <a:extLst>
              <a:ext uri="{FF2B5EF4-FFF2-40B4-BE49-F238E27FC236}">
                <a16:creationId xmlns:a16="http://schemas.microsoft.com/office/drawing/2014/main" id="{4A7CBFA4-E5A9-4C90-8BC9-EB94E1154C35}"/>
              </a:ext>
            </a:extLst>
          </p:cNvPr>
          <p:cNvPicPr>
            <a:picLocks noChangeAspect="1"/>
          </p:cNvPicPr>
          <p:nvPr/>
        </p:nvPicPr>
        <p:blipFill>
          <a:blip r:embed="rId6"/>
          <a:stretch>
            <a:fillRect/>
          </a:stretch>
        </p:blipFill>
        <p:spPr>
          <a:xfrm>
            <a:off x="6656564" y="1907250"/>
            <a:ext cx="5730366" cy="3604036"/>
          </a:xfrm>
          <a:prstGeom prst="rect">
            <a:avLst/>
          </a:prstGeom>
        </p:spPr>
      </p:pic>
    </p:spTree>
    <p:custDataLst>
      <p:tags r:id="rId1"/>
    </p:custDataLst>
    <p:extLst>
      <p:ext uri="{BB962C8B-B14F-4D97-AF65-F5344CB8AC3E}">
        <p14:creationId xmlns:p14="http://schemas.microsoft.com/office/powerpoint/2010/main" val="2580974706"/>
      </p:ext>
    </p:extLst>
  </p:cSld>
  <p:clrMapOvr>
    <a:masterClrMapping/>
  </p:clrMapOvr>
  <p:transition spd="slow"/>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de-DE"/>
              <a:t>App and Flow Risk Assessment</a:t>
            </a:r>
            <a:endParaRPr lang="en-US" noProof="1"/>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532511"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defTabSz="914192">
              <a:spcBef>
                <a:spcPts val="600"/>
              </a:spcBef>
              <a:spcAft>
                <a:spcPts val="600"/>
              </a:spcAft>
              <a:buClrTx/>
              <a:buNone/>
              <a:defRPr/>
            </a:pPr>
            <a:r>
              <a:rPr kumimoji="0" lang="en-US" sz="2000" b="0" i="0" u="none" strike="noStrike" kern="1200" cap="none" spc="-49" normalizeH="0" baseline="0" noProof="0">
                <a:ln>
                  <a:noFill/>
                </a:ln>
                <a:solidFill>
                  <a:srgbClr val="3C3C41"/>
                </a:solidFill>
                <a:effectLst/>
                <a:uLnTx/>
                <a:uFillTx/>
                <a:latin typeface="Segoe UI"/>
                <a:ea typeface="+mn-ea"/>
                <a:cs typeface="+mn-cs"/>
              </a:rPr>
              <a:t>You can use the dashboard to identify overshared and overused resources or resources that use specific connectors.</a:t>
            </a:r>
            <a:r>
              <a:rPr lang="en-US" sz="2000" spc="-49">
                <a:solidFill>
                  <a:srgbClr val="3C3C41"/>
                </a:solidFill>
                <a:latin typeface="Segoe UI"/>
                <a:cs typeface="+mn-cs"/>
              </a:rPr>
              <a:t> </a:t>
            </a:r>
            <a:endParaRPr kumimoji="0" lang="en-US" sz="2000" b="0" i="0" u="none" strike="noStrike" kern="1200" cap="none" spc="-49" normalizeH="0" baseline="0" noProof="0">
              <a:ln>
                <a:noFill/>
              </a:ln>
              <a:solidFill>
                <a:srgbClr val="3C3C41"/>
              </a:solidFill>
              <a:effectLst/>
              <a:uLnTx/>
              <a:uFillTx/>
              <a:latin typeface="Segoe UI"/>
              <a:ea typeface="+mn-ea"/>
              <a:cs typeface="+mn-cs"/>
            </a:endParaRPr>
          </a:p>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a:ln>
                  <a:noFill/>
                </a:ln>
                <a:solidFill>
                  <a:srgbClr val="3C3C41"/>
                </a:solidFill>
                <a:effectLst/>
                <a:uLnTx/>
                <a:uFillTx/>
                <a:latin typeface="Segoe UI"/>
                <a:ea typeface="+mn-ea"/>
                <a:cs typeface="+mn-cs"/>
              </a:rPr>
              <a:t>Not only will you have visibility to those types of resources, you can grant yourself ownership to inspect the resource behavior and decide whether you need to take further action.</a:t>
            </a:r>
          </a:p>
          <a:p>
            <a:pPr marL="310515" marR="0" lvl="0" indent="-310515"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Identify widely shared apps/flows</a:t>
            </a:r>
            <a:endParaRPr lang="en-US" sz="1800" b="0" i="0" u="none" strike="noStrike" kern="1200" cap="none" spc="-49" normalizeH="0" baseline="0" noProof="0">
              <a:ln>
                <a:noFill/>
              </a:ln>
              <a:solidFill>
                <a:srgbClr val="3C3C41"/>
              </a:solidFill>
              <a:effectLst/>
              <a:uLnTx/>
              <a:uFillTx/>
              <a:latin typeface="Segoe UI"/>
              <a:cs typeface="Segoe UI"/>
            </a:endParaRPr>
          </a:p>
          <a:p>
            <a:pPr marL="310515" marR="0" lvl="0" indent="-310515"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Identify orphaned apps/flows</a:t>
            </a:r>
            <a:endParaRPr lang="en-US" sz="1800" b="0" i="0" u="none" strike="noStrike" kern="1200" cap="none" spc="-49" normalizeH="0" baseline="0" noProof="0">
              <a:ln>
                <a:noFill/>
              </a:ln>
              <a:solidFill>
                <a:srgbClr val="3C3C41"/>
              </a:solidFill>
              <a:effectLst/>
              <a:uLnTx/>
              <a:uFillTx/>
              <a:latin typeface="Segoe UI"/>
              <a:cs typeface="Segoe UI"/>
            </a:endParaRPr>
          </a:p>
          <a:p>
            <a:pPr marL="310515" marR="0" lvl="0" indent="-310515"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rgbClr val="3C3C41"/>
                </a:solidFill>
                <a:effectLst/>
                <a:uLnTx/>
                <a:uFillTx/>
                <a:latin typeface="Segoe UI"/>
                <a:ea typeface="+mn-ea"/>
                <a:cs typeface="+mn-cs"/>
              </a:rPr>
              <a:t>Identify implicitly shared app/flow connections</a:t>
            </a:r>
            <a:endParaRPr lang="en-US" sz="1800" b="0" i="0" u="none" strike="noStrike" kern="1200" cap="none" spc="-49" normalizeH="0" baseline="0" noProof="0">
              <a:ln>
                <a:noFill/>
              </a:ln>
              <a:solidFill>
                <a:srgbClr val="3C3C41"/>
              </a:solidFill>
              <a:effectLst/>
              <a:uLnTx/>
              <a:uFillTx/>
              <a:latin typeface="Segoe UI"/>
              <a:cs typeface="Segoe UI"/>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621474-5DE9-4C55-BE46-9463B60ABD5B}"/>
              </a:ext>
            </a:extLst>
          </p:cNvPr>
          <p:cNvGrpSpPr/>
          <p:nvPr/>
        </p:nvGrpSpPr>
        <p:grpSpPr>
          <a:xfrm>
            <a:off x="5556282" y="890706"/>
            <a:ext cx="8289598" cy="5520794"/>
            <a:chOff x="6976257" y="1612338"/>
            <a:chExt cx="5312499" cy="3538074"/>
          </a:xfrm>
        </p:grpSpPr>
        <p:sp>
          <p:nvSpPr>
            <p:cNvPr id="9" name="Rectangle 8">
              <a:extLst>
                <a:ext uri="{FF2B5EF4-FFF2-40B4-BE49-F238E27FC236}">
                  <a16:creationId xmlns:a16="http://schemas.microsoft.com/office/drawing/2014/main" id="{748BEFEA-8948-4F37-B80E-5C0610D10F19}"/>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https://pbiwebprod.blob.core.windows.net/webassets/images/Homepage_metal_large_2.png">
              <a:extLst>
                <a:ext uri="{FF2B5EF4-FFF2-40B4-BE49-F238E27FC236}">
                  <a16:creationId xmlns:a16="http://schemas.microsoft.com/office/drawing/2014/main" id="{725D70C6-9800-4102-8858-2BFCEAEF139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6" name="Picture 5">
            <a:extLst>
              <a:ext uri="{FF2B5EF4-FFF2-40B4-BE49-F238E27FC236}">
                <a16:creationId xmlns:a16="http://schemas.microsoft.com/office/drawing/2014/main" id="{4059029D-273A-4581-A767-C325F97BC1D7}"/>
              </a:ext>
            </a:extLst>
          </p:cNvPr>
          <p:cNvPicPr>
            <a:picLocks noChangeAspect="1"/>
          </p:cNvPicPr>
          <p:nvPr/>
        </p:nvPicPr>
        <p:blipFill>
          <a:blip r:embed="rId6"/>
          <a:stretch>
            <a:fillRect/>
          </a:stretch>
        </p:blipFill>
        <p:spPr>
          <a:xfrm>
            <a:off x="6645041" y="1897297"/>
            <a:ext cx="5688725" cy="3618930"/>
          </a:xfrm>
          <a:prstGeom prst="rect">
            <a:avLst/>
          </a:prstGeom>
        </p:spPr>
      </p:pic>
    </p:spTree>
    <p:custDataLst>
      <p:tags r:id="rId1"/>
    </p:custDataLst>
    <p:extLst>
      <p:ext uri="{BB962C8B-B14F-4D97-AF65-F5344CB8AC3E}">
        <p14:creationId xmlns:p14="http://schemas.microsoft.com/office/powerpoint/2010/main" val="370983961"/>
      </p:ext>
    </p:extLst>
  </p:cSld>
  <p:clrMapOvr>
    <a:masterClrMapping/>
  </p:clrMapOvr>
  <p:transition spd="slow"/>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de-DE"/>
              <a:t>App License Assessment</a:t>
            </a:r>
            <a:endParaRPr lang="en-US" noProof="1"/>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532511"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0" algn="l" defTabSz="91419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b="0" i="0" u="none" strike="noStrike" kern="1200" cap="none" spc="-49" normalizeH="0" baseline="0" noProof="0">
                <a:ln>
                  <a:noFill/>
                </a:ln>
                <a:solidFill>
                  <a:srgbClr val="3C3C41"/>
                </a:solidFill>
                <a:effectLst/>
                <a:uLnTx/>
                <a:uFillTx/>
                <a:latin typeface="Segoe UI"/>
                <a:ea typeface="+mn-ea"/>
                <a:cs typeface="+mn-cs"/>
              </a:rPr>
              <a:t>You can use the App license assessment page to view apps that use premium or standard features and drill down into connectors, departments or makers that are using premium connectors.</a:t>
            </a: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621474-5DE9-4C55-BE46-9463B60ABD5B}"/>
              </a:ext>
            </a:extLst>
          </p:cNvPr>
          <p:cNvGrpSpPr/>
          <p:nvPr/>
        </p:nvGrpSpPr>
        <p:grpSpPr>
          <a:xfrm>
            <a:off x="5556282" y="890706"/>
            <a:ext cx="8289598" cy="5520794"/>
            <a:chOff x="6976257" y="1612338"/>
            <a:chExt cx="5312499" cy="3538074"/>
          </a:xfrm>
        </p:grpSpPr>
        <p:sp>
          <p:nvSpPr>
            <p:cNvPr id="9" name="Rectangle 8">
              <a:extLst>
                <a:ext uri="{FF2B5EF4-FFF2-40B4-BE49-F238E27FC236}">
                  <a16:creationId xmlns:a16="http://schemas.microsoft.com/office/drawing/2014/main" id="{748BEFEA-8948-4F37-B80E-5C0610D10F19}"/>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https://pbiwebprod.blob.core.windows.net/webassets/images/Homepage_metal_large_2.png">
              <a:extLst>
                <a:ext uri="{FF2B5EF4-FFF2-40B4-BE49-F238E27FC236}">
                  <a16:creationId xmlns:a16="http://schemas.microsoft.com/office/drawing/2014/main" id="{725D70C6-9800-4102-8858-2BFCEAEF139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5" name="Picture 4">
            <a:extLst>
              <a:ext uri="{FF2B5EF4-FFF2-40B4-BE49-F238E27FC236}">
                <a16:creationId xmlns:a16="http://schemas.microsoft.com/office/drawing/2014/main" id="{F0656841-ACBE-43F2-AAB6-F6DEB08DEB2A}"/>
              </a:ext>
            </a:extLst>
          </p:cNvPr>
          <p:cNvPicPr>
            <a:picLocks noChangeAspect="1"/>
          </p:cNvPicPr>
          <p:nvPr/>
        </p:nvPicPr>
        <p:blipFill>
          <a:blip r:embed="rId6"/>
          <a:stretch>
            <a:fillRect/>
          </a:stretch>
        </p:blipFill>
        <p:spPr>
          <a:xfrm>
            <a:off x="6661507" y="1897297"/>
            <a:ext cx="5778586" cy="3621984"/>
          </a:xfrm>
          <a:prstGeom prst="rect">
            <a:avLst/>
          </a:prstGeom>
        </p:spPr>
      </p:pic>
    </p:spTree>
    <p:custDataLst>
      <p:tags r:id="rId1"/>
    </p:custDataLst>
    <p:extLst>
      <p:ext uri="{BB962C8B-B14F-4D97-AF65-F5344CB8AC3E}">
        <p14:creationId xmlns:p14="http://schemas.microsoft.com/office/powerpoint/2010/main" val="3725218270"/>
      </p:ext>
    </p:extLst>
  </p:cSld>
  <p:clrMapOvr>
    <a:masterClrMapping/>
  </p:clrMapOvr>
  <p:transition spd="slow"/>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de-DE"/>
              <a:t>App, Flow and Desktop Flow Archive</a:t>
            </a:r>
            <a:endParaRPr lang="en-US" noProof="1"/>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591840" y="1961006"/>
            <a:ext cx="6002620"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marR="0" lvl="0" indent="-310515" algn="l" defTabSz="914192" rtl="0" eaLnBrk="1" fontAlgn="auto" latinLnBrk="0" hangingPunct="1">
              <a:lnSpc>
                <a:spcPct val="100000"/>
              </a:lnSpc>
              <a:buClrTx/>
              <a:buSzPct val="90000"/>
              <a:buFont typeface="Wingdings" panose="05000000000000000000" pitchFamily="2" charset="2"/>
              <a:buChar char=""/>
              <a:tabLst/>
              <a:defRPr/>
            </a:pPr>
            <a:r>
              <a:rPr kumimoji="0" lang="en-US" sz="1600" b="0" i="0" u="none" strike="noStrike" kern="1200" cap="none" spc="-49" normalizeH="0" baseline="0" noProof="0">
                <a:ln>
                  <a:noFill/>
                </a:ln>
                <a:solidFill>
                  <a:srgbClr val="3C3C41"/>
                </a:solidFill>
                <a:effectLst/>
                <a:uLnTx/>
                <a:uFillTx/>
                <a:latin typeface="Segoe UI"/>
                <a:ea typeface="+mn-ea"/>
                <a:cs typeface="+mn-cs"/>
              </a:rPr>
              <a:t>The highest possible score for an </a:t>
            </a:r>
            <a:r>
              <a:rPr kumimoji="0" lang="en-US" sz="1600" b="1" i="0" u="none" strike="noStrike" kern="1200" cap="none" spc="-49" normalizeH="0" baseline="0" noProof="0">
                <a:ln>
                  <a:noFill/>
                </a:ln>
                <a:solidFill>
                  <a:srgbClr val="3C3C41"/>
                </a:solidFill>
                <a:effectLst/>
                <a:uLnTx/>
                <a:uFillTx/>
                <a:latin typeface="Segoe UI"/>
                <a:ea typeface="+mn-ea"/>
                <a:cs typeface="+mn-cs"/>
              </a:rPr>
              <a:t>app</a:t>
            </a:r>
            <a:r>
              <a:rPr kumimoji="0" lang="en-US" sz="1600" b="0" i="0" u="none" strike="noStrike" kern="1200" cap="none" spc="-49" normalizeH="0" baseline="0" noProof="0">
                <a:ln>
                  <a:noFill/>
                </a:ln>
                <a:solidFill>
                  <a:srgbClr val="3C3C41"/>
                </a:solidFill>
                <a:effectLst/>
                <a:uLnTx/>
                <a:uFillTx/>
                <a:latin typeface="Segoe UI"/>
                <a:ea typeface="+mn-ea"/>
                <a:cs typeface="+mn-cs"/>
              </a:rPr>
              <a:t> </a:t>
            </a:r>
            <a:r>
              <a:rPr kumimoji="0" lang="en-US" sz="1600" b="1" i="0" u="none" strike="noStrike" kern="1200" cap="none" spc="-49" normalizeH="0" baseline="0" noProof="0">
                <a:ln>
                  <a:noFill/>
                </a:ln>
                <a:solidFill>
                  <a:srgbClr val="3C3C41"/>
                </a:solidFill>
                <a:effectLst/>
                <a:uLnTx/>
                <a:uFillTx/>
                <a:latin typeface="Segoe UI"/>
                <a:ea typeface="+mn-ea"/>
                <a:cs typeface="+mn-cs"/>
              </a:rPr>
              <a:t>is 8</a:t>
            </a:r>
            <a:r>
              <a:rPr kumimoji="0" lang="en-US" sz="1600" b="0" i="0" u="none" strike="noStrike" kern="1200" cap="none" spc="-49" normalizeH="0" baseline="0" noProof="0">
                <a:ln>
                  <a:noFill/>
                </a:ln>
                <a:solidFill>
                  <a:srgbClr val="3C3C41"/>
                </a:solidFill>
                <a:effectLst/>
                <a:uLnTx/>
                <a:uFillTx/>
                <a:latin typeface="Segoe UI"/>
                <a:ea typeface="+mn-ea"/>
                <a:cs typeface="+mn-cs"/>
              </a:rPr>
              <a:t>. Max score represents an app that hasn’t been never modified, is using word like test or demo in the title, was created over three years ago and </a:t>
            </a:r>
            <a:r>
              <a:rPr lang="en-US" sz="1600">
                <a:solidFill>
                  <a:srgbClr val="3C3C41"/>
                </a:solidFill>
                <a:latin typeface="Segoe UI"/>
                <a:cs typeface="Segoe UI"/>
              </a:rPr>
              <a:t>is </a:t>
            </a:r>
            <a:r>
              <a:rPr kumimoji="0" lang="en-US" sz="1600" b="0" i="0" u="none" strike="noStrike" kern="1200" cap="none" spc="-49" normalizeH="0" baseline="0" noProof="0">
                <a:ln>
                  <a:noFill/>
                </a:ln>
                <a:solidFill>
                  <a:srgbClr val="3C3C41"/>
                </a:solidFill>
                <a:effectLst/>
                <a:uLnTx/>
                <a:uFillTx/>
                <a:latin typeface="Segoe UI"/>
                <a:ea typeface="+mn-ea"/>
                <a:cs typeface="+mn-cs"/>
              </a:rPr>
              <a:t>likely created from a template</a:t>
            </a:r>
            <a:r>
              <a:rPr lang="en-US" sz="1600" spc="-49">
                <a:solidFill>
                  <a:srgbClr val="3C3C41"/>
                </a:solidFill>
                <a:latin typeface="Segoe UI"/>
                <a:cs typeface="+mn-cs"/>
              </a:rPr>
              <a:t>.</a:t>
            </a:r>
            <a:endParaRPr lang="en-US">
              <a:ea typeface="+mn-ea"/>
              <a:cs typeface="+mn-cs"/>
            </a:endParaRPr>
          </a:p>
          <a:p>
            <a:pPr marL="310515" marR="0" lvl="0" indent="-310515" algn="l" defTabSz="914192" rtl="0" eaLnBrk="1" fontAlgn="auto" latinLnBrk="0" hangingPunct="1">
              <a:lnSpc>
                <a:spcPct val="100000"/>
              </a:lnSpc>
              <a:buClrTx/>
              <a:buSzPct val="90000"/>
              <a:buFont typeface="Wingdings" panose="05000000000000000000" pitchFamily="2" charset="2"/>
              <a:buChar char=""/>
              <a:tabLst/>
              <a:defRPr/>
            </a:pPr>
            <a:endParaRPr lang="en-US" sz="1600" b="0" i="0" u="none" strike="noStrike" kern="1200" cap="none" spc="-49" normalizeH="0" baseline="0" noProof="0">
              <a:ln>
                <a:noFill/>
              </a:ln>
              <a:solidFill>
                <a:srgbClr val="3C3C41"/>
              </a:solidFill>
              <a:effectLst/>
              <a:uLnTx/>
              <a:uFillTx/>
              <a:latin typeface="Segoe UI"/>
              <a:cs typeface="Segoe UI"/>
            </a:endParaRPr>
          </a:p>
          <a:p>
            <a:pPr marL="310515" marR="0" lvl="0" indent="-310515" algn="l" defTabSz="914192" rtl="0" eaLnBrk="1" fontAlgn="auto" latinLnBrk="0" hangingPunct="1">
              <a:lnSpc>
                <a:spcPct val="100000"/>
              </a:lnSpc>
              <a:buClrTx/>
              <a:buSzPct val="90000"/>
              <a:buFont typeface="Wingdings" panose="05000000000000000000" pitchFamily="2" charset="2"/>
              <a:buChar char=""/>
              <a:tabLst/>
              <a:defRPr/>
            </a:pPr>
            <a:r>
              <a:rPr kumimoji="0" lang="en-US" sz="1600" b="0" i="0" u="none" strike="noStrike" kern="1200" cap="none" spc="-49" normalizeH="0" baseline="0" noProof="0">
                <a:ln>
                  <a:noFill/>
                </a:ln>
                <a:solidFill>
                  <a:srgbClr val="3C3C41"/>
                </a:solidFill>
                <a:effectLst/>
                <a:uLnTx/>
                <a:uFillTx/>
                <a:latin typeface="Segoe UI"/>
                <a:ea typeface="+mn-ea"/>
                <a:cs typeface="+mn-cs"/>
              </a:rPr>
              <a:t>The highest possible score for a </a:t>
            </a:r>
            <a:r>
              <a:rPr kumimoji="0" lang="en-US" sz="1600" b="1" i="0" u="none" strike="noStrike" kern="1200" cap="none" spc="-49" normalizeH="0" baseline="0" noProof="0">
                <a:ln>
                  <a:noFill/>
                </a:ln>
                <a:solidFill>
                  <a:srgbClr val="3C3C41"/>
                </a:solidFill>
                <a:effectLst/>
                <a:uLnTx/>
                <a:uFillTx/>
                <a:latin typeface="Segoe UI"/>
                <a:ea typeface="+mn-ea"/>
                <a:cs typeface="+mn-cs"/>
              </a:rPr>
              <a:t>flow</a:t>
            </a:r>
            <a:r>
              <a:rPr kumimoji="0" lang="en-US" sz="1600" b="0" i="0" u="none" strike="noStrike" kern="1200" cap="none" spc="-49" normalizeH="0" baseline="0" noProof="0">
                <a:ln>
                  <a:noFill/>
                </a:ln>
                <a:solidFill>
                  <a:srgbClr val="3C3C41"/>
                </a:solidFill>
                <a:effectLst/>
                <a:uLnTx/>
                <a:uFillTx/>
                <a:latin typeface="Segoe UI"/>
                <a:ea typeface="+mn-ea"/>
                <a:cs typeface="+mn-cs"/>
              </a:rPr>
              <a:t> </a:t>
            </a:r>
            <a:r>
              <a:rPr kumimoji="0" lang="en-US" sz="1600" b="1" i="0" u="none" strike="noStrike" kern="1200" cap="none" spc="-49" normalizeH="0" baseline="0" noProof="0">
                <a:ln>
                  <a:noFill/>
                </a:ln>
                <a:solidFill>
                  <a:srgbClr val="3C3C41"/>
                </a:solidFill>
                <a:effectLst/>
                <a:uLnTx/>
                <a:uFillTx/>
                <a:latin typeface="Segoe UI"/>
                <a:ea typeface="+mn-ea"/>
                <a:cs typeface="+mn-cs"/>
              </a:rPr>
              <a:t>is 11</a:t>
            </a:r>
            <a:r>
              <a:rPr kumimoji="0" lang="en-US" sz="1600" b="0" i="0" u="none" strike="noStrike" kern="1200" cap="none" spc="-49" normalizeH="0" baseline="0" noProof="0">
                <a:ln>
                  <a:noFill/>
                </a:ln>
                <a:solidFill>
                  <a:srgbClr val="3C3C41"/>
                </a:solidFill>
                <a:effectLst/>
                <a:uLnTx/>
                <a:uFillTx/>
                <a:latin typeface="Segoe UI"/>
                <a:ea typeface="+mn-ea"/>
                <a:cs typeface="+mn-cs"/>
              </a:rPr>
              <a:t>. Max score represents a flow that hasn't been modified since it was created, is using word like test or demo in the title, was created over three years ago, was likely created from a template, is </a:t>
            </a:r>
            <a:r>
              <a:rPr lang="en-US" sz="1600">
                <a:solidFill>
                  <a:srgbClr val="3C3C41"/>
                </a:solidFill>
                <a:latin typeface="Segoe UI"/>
              </a:rPr>
              <a:t>suspended, is orphan and</a:t>
            </a:r>
            <a:r>
              <a:rPr kumimoji="0" lang="en-US" sz="1600" b="0" i="0" u="none" strike="noStrike" kern="1200" cap="none" spc="-49" normalizeH="0" baseline="0" noProof="0">
                <a:ln>
                  <a:noFill/>
                </a:ln>
                <a:solidFill>
                  <a:srgbClr val="3C3C41"/>
                </a:solidFill>
                <a:effectLst/>
                <a:uLnTx/>
                <a:uFillTx/>
                <a:latin typeface="Segoe UI"/>
                <a:ea typeface="+mn-ea"/>
                <a:cs typeface="+mn-cs"/>
              </a:rPr>
              <a:t> isn't complex (contains fewer than five actions).</a:t>
            </a:r>
            <a:endParaRPr lang="en-US" sz="1600" b="0" i="0" u="none" strike="noStrike" kern="1200" cap="none" spc="-49" normalizeH="0" baseline="0" noProof="0">
              <a:ln>
                <a:noFill/>
              </a:ln>
              <a:solidFill>
                <a:srgbClr val="3C3C41"/>
              </a:solidFill>
              <a:effectLst/>
              <a:uLnTx/>
              <a:uFillTx/>
              <a:latin typeface="Segoe UI"/>
              <a:cs typeface="Segoe UI"/>
            </a:endParaRPr>
          </a:p>
          <a:p>
            <a:pPr marL="310515" marR="0" lvl="0" indent="-310515" algn="l" defTabSz="914192" rtl="0" eaLnBrk="1" fontAlgn="auto" latinLnBrk="0" hangingPunct="1">
              <a:lnSpc>
                <a:spcPct val="100000"/>
              </a:lnSpc>
              <a:buClrTx/>
              <a:buSzPct val="90000"/>
              <a:buFont typeface="Wingdings" panose="05000000000000000000" pitchFamily="2" charset="2"/>
              <a:buChar char=""/>
              <a:tabLst/>
              <a:defRPr/>
            </a:pPr>
            <a:endParaRPr lang="en-US" sz="1600" b="0" i="0" u="none" strike="noStrike" kern="1200" cap="none" spc="-49" normalizeH="0" baseline="0" noProof="0">
              <a:ln>
                <a:noFill/>
              </a:ln>
              <a:solidFill>
                <a:srgbClr val="3C3C41"/>
              </a:solidFill>
              <a:effectLst/>
              <a:uLnTx/>
              <a:uFillTx/>
              <a:latin typeface="Segoe UI"/>
              <a:cs typeface="Segoe UI"/>
            </a:endParaRPr>
          </a:p>
          <a:p>
            <a:pPr marL="310515" marR="0" lvl="0" indent="-310515" algn="l" defTabSz="914192" rtl="0" eaLnBrk="1" fontAlgn="auto" latinLnBrk="0" hangingPunct="1">
              <a:lnSpc>
                <a:spcPct val="100000"/>
              </a:lnSpc>
              <a:buClrTx/>
              <a:buSzPct val="90000"/>
              <a:buFont typeface="Wingdings" panose="05000000000000000000" pitchFamily="2" charset="2"/>
              <a:buChar char=""/>
              <a:tabLst/>
              <a:defRPr/>
            </a:pPr>
            <a:r>
              <a:rPr kumimoji="0" lang="en-US" sz="1600" b="0" i="0" u="none" strike="noStrike" kern="1200" cap="none" spc="-49" normalizeH="0" baseline="0" noProof="0">
                <a:ln>
                  <a:noFill/>
                </a:ln>
                <a:solidFill>
                  <a:srgbClr val="3C3C41"/>
                </a:solidFill>
                <a:effectLst/>
                <a:uLnTx/>
                <a:uFillTx/>
                <a:latin typeface="Segoe UI"/>
                <a:ea typeface="+mn-ea"/>
                <a:cs typeface="+mn-cs"/>
              </a:rPr>
              <a:t>The highest possible score for a </a:t>
            </a:r>
            <a:r>
              <a:rPr kumimoji="0" lang="en-US" sz="1600" b="1" i="0" u="none" strike="noStrike" kern="1200" cap="none" spc="-49" normalizeH="0" baseline="0" noProof="0">
                <a:ln>
                  <a:noFill/>
                </a:ln>
                <a:solidFill>
                  <a:srgbClr val="3C3C41"/>
                </a:solidFill>
                <a:effectLst/>
                <a:uLnTx/>
                <a:uFillTx/>
                <a:latin typeface="Segoe UI"/>
                <a:ea typeface="+mn-ea"/>
                <a:cs typeface="+mn-cs"/>
              </a:rPr>
              <a:t>desktop flow is 6</a:t>
            </a:r>
            <a:r>
              <a:rPr kumimoji="0" lang="en-US" sz="1600" b="0" i="0" u="none" strike="noStrike" kern="1200" cap="none" spc="-49" normalizeH="0" baseline="0" noProof="0">
                <a:ln>
                  <a:noFill/>
                </a:ln>
                <a:solidFill>
                  <a:srgbClr val="3C3C41"/>
                </a:solidFill>
                <a:effectLst/>
                <a:uLnTx/>
                <a:uFillTx/>
                <a:latin typeface="Segoe UI"/>
                <a:ea typeface="+mn-ea"/>
                <a:cs typeface="+mn-cs"/>
              </a:rPr>
              <a:t>. A score of 6 represents a desktop flow that hasn't been modified since it was created, is using word like test or demo in the title, was created over a year ago, and was likely created from a template.</a:t>
            </a:r>
            <a:endParaRPr lang="en-US" sz="1600" b="0" i="0" u="none" strike="noStrike" kern="1200" cap="none" spc="-49" normalizeH="0" baseline="0" noProof="0">
              <a:ln>
                <a:noFill/>
              </a:ln>
              <a:solidFill>
                <a:srgbClr val="3C3C41"/>
              </a:solidFill>
              <a:effectLst/>
              <a:uLnTx/>
              <a:uFillTx/>
              <a:latin typeface="Segoe UI"/>
              <a:cs typeface="Segoe UI"/>
            </a:endParaRPr>
          </a:p>
        </p:txBody>
      </p:sp>
      <p:sp>
        <p:nvSpPr>
          <p:cNvPr id="4" name="Text Placeholder 11">
            <a:extLst>
              <a:ext uri="{FF2B5EF4-FFF2-40B4-BE49-F238E27FC236}">
                <a16:creationId xmlns:a16="http://schemas.microsoft.com/office/drawing/2014/main" id="{9B5E814D-BCDE-404A-A182-6AFC5E059337}"/>
              </a:ext>
            </a:extLst>
          </p:cNvPr>
          <p:cNvSpPr txBox="1">
            <a:spLocks/>
          </p:cNvSpPr>
          <p:nvPr/>
        </p:nvSpPr>
        <p:spPr>
          <a:xfrm>
            <a:off x="591839" y="786383"/>
            <a:ext cx="10880725" cy="461665"/>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621474-5DE9-4C55-BE46-9463B60ABD5B}"/>
              </a:ext>
            </a:extLst>
          </p:cNvPr>
          <p:cNvGrpSpPr/>
          <p:nvPr/>
        </p:nvGrpSpPr>
        <p:grpSpPr>
          <a:xfrm>
            <a:off x="5960326" y="1230941"/>
            <a:ext cx="8289598" cy="5520794"/>
            <a:chOff x="6976257" y="1612338"/>
            <a:chExt cx="5312499" cy="3538074"/>
          </a:xfrm>
        </p:grpSpPr>
        <p:sp>
          <p:nvSpPr>
            <p:cNvPr id="9" name="Rectangle 8">
              <a:extLst>
                <a:ext uri="{FF2B5EF4-FFF2-40B4-BE49-F238E27FC236}">
                  <a16:creationId xmlns:a16="http://schemas.microsoft.com/office/drawing/2014/main" id="{748BEFEA-8948-4F37-B80E-5C0610D10F19}"/>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https://pbiwebprod.blob.core.windows.net/webassets/images/Homepage_metal_large_2.png">
              <a:extLst>
                <a:ext uri="{FF2B5EF4-FFF2-40B4-BE49-F238E27FC236}">
                  <a16:creationId xmlns:a16="http://schemas.microsoft.com/office/drawing/2014/main" id="{725D70C6-9800-4102-8858-2BFCEAEF139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pic>
        <p:nvPicPr>
          <p:cNvPr id="6" name="Picture 5">
            <a:extLst>
              <a:ext uri="{FF2B5EF4-FFF2-40B4-BE49-F238E27FC236}">
                <a16:creationId xmlns:a16="http://schemas.microsoft.com/office/drawing/2014/main" id="{33946CF6-1B36-47B5-BB45-3E4278E9B6BF}"/>
              </a:ext>
            </a:extLst>
          </p:cNvPr>
          <p:cNvPicPr>
            <a:picLocks noChangeAspect="1"/>
          </p:cNvPicPr>
          <p:nvPr/>
        </p:nvPicPr>
        <p:blipFill>
          <a:blip r:embed="rId6"/>
          <a:stretch>
            <a:fillRect/>
          </a:stretch>
        </p:blipFill>
        <p:spPr>
          <a:xfrm>
            <a:off x="7042947" y="2237532"/>
            <a:ext cx="5875618" cy="3623436"/>
          </a:xfrm>
          <a:prstGeom prst="rect">
            <a:avLst/>
          </a:prstGeom>
        </p:spPr>
      </p:pic>
      <p:sp>
        <p:nvSpPr>
          <p:cNvPr id="7" name="TextBox 6">
            <a:extLst>
              <a:ext uri="{FF2B5EF4-FFF2-40B4-BE49-F238E27FC236}">
                <a16:creationId xmlns:a16="http://schemas.microsoft.com/office/drawing/2014/main" id="{CC9F0AE3-A82F-4B33-9082-37BC7C98798B}"/>
              </a:ext>
            </a:extLst>
          </p:cNvPr>
          <p:cNvSpPr txBox="1"/>
          <p:nvPr/>
        </p:nvSpPr>
        <p:spPr>
          <a:xfrm>
            <a:off x="501789" y="1119026"/>
            <a:ext cx="11446759" cy="646331"/>
          </a:xfrm>
          <a:prstGeom prst="rect">
            <a:avLst/>
          </a:prstGeom>
          <a:noFill/>
        </p:spPr>
        <p:txBody>
          <a:bodyPr wrap="square">
            <a:spAutoFit/>
          </a:bodyPr>
          <a:lstStyle/>
          <a:p>
            <a:pPr marL="0" marR="0" lvl="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lang="en-US" spc="-49">
                <a:solidFill>
                  <a:srgbClr val="3C3C41"/>
                </a:solidFill>
                <a:latin typeface="Segoe UI"/>
              </a:rPr>
              <a:t>I</a:t>
            </a:r>
            <a:r>
              <a:rPr kumimoji="0" lang="en-US" sz="1800" b="0" i="0" u="none" strike="noStrike" kern="1200" cap="none" spc="-49" normalizeH="0" baseline="0" noProof="0" err="1">
                <a:ln>
                  <a:noFill/>
                </a:ln>
                <a:solidFill>
                  <a:srgbClr val="3C3C41"/>
                </a:solidFill>
                <a:effectLst/>
                <a:uLnTx/>
                <a:uFillTx/>
                <a:latin typeface="Segoe UI"/>
                <a:ea typeface="+mn-ea"/>
                <a:cs typeface="+mn-cs"/>
              </a:rPr>
              <a:t>dentify</a:t>
            </a:r>
            <a:r>
              <a:rPr kumimoji="0" lang="en-US" sz="1800" b="0" i="0" u="none" strike="noStrike" kern="1200" cap="none" spc="-49" normalizeH="0" baseline="0" noProof="0">
                <a:ln>
                  <a:noFill/>
                </a:ln>
                <a:solidFill>
                  <a:srgbClr val="3C3C41"/>
                </a:solidFill>
                <a:effectLst/>
                <a:uLnTx/>
                <a:uFillTx/>
                <a:latin typeface="Segoe UI"/>
                <a:ea typeface="+mn-ea"/>
                <a:cs typeface="+mn-cs"/>
              </a:rPr>
              <a:t> unused apps, flows and desktop flows by monitoring their archive score: </a:t>
            </a:r>
            <a:r>
              <a:rPr kumimoji="0" lang="en-US" sz="1800" b="0" i="0" u="sng" strike="noStrike" kern="1200" cap="none" spc="-49" normalizeH="0" baseline="0" noProof="0">
                <a:ln>
                  <a:noFill/>
                </a:ln>
                <a:solidFill>
                  <a:srgbClr val="3C3C41"/>
                </a:solidFill>
                <a:effectLst/>
                <a:uLnTx/>
                <a:uFillTx/>
                <a:latin typeface="Segoe UI"/>
                <a:ea typeface="+mn-ea"/>
                <a:cs typeface="+mn-cs"/>
              </a:rPr>
              <a:t>in short, the higher the score, the more likely it is that you can safely archive the resource</a:t>
            </a:r>
            <a:r>
              <a:rPr kumimoji="0" lang="en-US" sz="1800" b="0" i="0" u="none" strike="noStrike" kern="1200" cap="none" spc="-49" normalizeH="0" baseline="0" noProof="0">
                <a:ln>
                  <a:noFill/>
                </a:ln>
                <a:solidFill>
                  <a:srgbClr val="3C3C41"/>
                </a:solidFill>
                <a:effectLst/>
                <a:uLnTx/>
                <a:uFillTx/>
                <a:latin typeface="Segoe UI"/>
                <a:ea typeface="+mn-ea"/>
                <a:cs typeface="+mn-cs"/>
              </a:rPr>
              <a:t>.</a:t>
            </a:r>
          </a:p>
        </p:txBody>
      </p:sp>
    </p:spTree>
    <p:custDataLst>
      <p:tags r:id="rId1"/>
    </p:custDataLst>
    <p:extLst>
      <p:ext uri="{BB962C8B-B14F-4D97-AF65-F5344CB8AC3E}">
        <p14:creationId xmlns:p14="http://schemas.microsoft.com/office/powerpoint/2010/main" val="3721019003"/>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fld id="{8F881BB8-5469-4299-99B9-578BE3320A80}" type="slidenum">
              <a:rPr lang="en-US" smtClean="0">
                <a:solidFill>
                  <a:srgbClr val="000000"/>
                </a:solidFill>
                <a:latin typeface="Segoe UI"/>
              </a:rPr>
              <a:pPr lvl="0">
                <a:defRPr/>
              </a:pPr>
              <a:t>69</a:t>
            </a:fld>
            <a:endParaRPr lang="en-US" noProof="0"/>
          </a:p>
        </p:txBody>
      </p:sp>
    </p:spTree>
    <p:custDataLst>
      <p:tags r:id="rId1"/>
    </p:custDataLst>
    <p:extLst>
      <p:ext uri="{BB962C8B-B14F-4D97-AF65-F5344CB8AC3E}">
        <p14:creationId xmlns:p14="http://schemas.microsoft.com/office/powerpoint/2010/main" val="4276723870"/>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The Growing Number of Developers Creates A New Norm</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a:xfrm>
            <a:off x="655637" y="786383"/>
            <a:ext cx="11536363" cy="621731"/>
          </a:xfrm>
        </p:spPr>
        <p:txBody>
          <a:bodyPr>
            <a:normAutofit/>
          </a:bodyPr>
          <a:lstStyle/>
          <a:p>
            <a:pPr lvl="1"/>
            <a:r>
              <a:rPr lang="en-US"/>
              <a:t>IT must adapt to the growing number of non-technical developers</a:t>
            </a:r>
          </a:p>
        </p:txBody>
      </p:sp>
      <p:sp>
        <p:nvSpPr>
          <p:cNvPr id="65" name="Hexagon 64">
            <a:extLst>
              <a:ext uri="{FF2B5EF4-FFF2-40B4-BE49-F238E27FC236}">
                <a16:creationId xmlns:a16="http://schemas.microsoft.com/office/drawing/2014/main" id="{B14BD778-8131-43A3-97CC-FC0D2FEDEE75}"/>
              </a:ext>
            </a:extLst>
          </p:cNvPr>
          <p:cNvSpPr/>
          <p:nvPr/>
        </p:nvSpPr>
        <p:spPr bwMode="auto">
          <a:xfrm>
            <a:off x="8774447" y="3984614"/>
            <a:ext cx="1060554" cy="914270"/>
          </a:xfrm>
          <a:prstGeom prst="hexagon">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_2" title="Icon of a server with a padlock in the lower right corner">
            <a:extLst>
              <a:ext uri="{FF2B5EF4-FFF2-40B4-BE49-F238E27FC236}">
                <a16:creationId xmlns:a16="http://schemas.microsoft.com/office/drawing/2014/main" id="{0E19A6EA-1428-4A8F-941E-61E3628B6CB1}"/>
              </a:ext>
            </a:extLst>
          </p:cNvPr>
          <p:cNvSpPr>
            <a:spLocks noChangeAspect="1" noEditPoints="1"/>
          </p:cNvSpPr>
          <p:nvPr/>
        </p:nvSpPr>
        <p:spPr bwMode="auto">
          <a:xfrm>
            <a:off x="9136311" y="4232953"/>
            <a:ext cx="336824" cy="417594"/>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67" name="Hexagon 66">
            <a:extLst>
              <a:ext uri="{FF2B5EF4-FFF2-40B4-BE49-F238E27FC236}">
                <a16:creationId xmlns:a16="http://schemas.microsoft.com/office/drawing/2014/main" id="{C0E0FA39-59EF-40C5-B0CD-BC316ACAB523}"/>
              </a:ext>
            </a:extLst>
          </p:cNvPr>
          <p:cNvSpPr/>
          <p:nvPr/>
        </p:nvSpPr>
        <p:spPr bwMode="auto">
          <a:xfrm>
            <a:off x="8774447" y="2811879"/>
            <a:ext cx="1060554" cy="914270"/>
          </a:xfrm>
          <a:prstGeom prst="hexagon">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boy" title="Icon of a man">
            <a:extLst>
              <a:ext uri="{FF2B5EF4-FFF2-40B4-BE49-F238E27FC236}">
                <a16:creationId xmlns:a16="http://schemas.microsoft.com/office/drawing/2014/main" id="{E8559740-928F-45F0-A6B4-A4AA203E961A}"/>
              </a:ext>
            </a:extLst>
          </p:cNvPr>
          <p:cNvSpPr>
            <a:spLocks noChangeAspect="1" noEditPoints="1"/>
          </p:cNvSpPr>
          <p:nvPr/>
        </p:nvSpPr>
        <p:spPr bwMode="auto">
          <a:xfrm>
            <a:off x="9113622" y="3020278"/>
            <a:ext cx="382205" cy="497472"/>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69" name="Hexagon 68">
            <a:extLst>
              <a:ext uri="{FF2B5EF4-FFF2-40B4-BE49-F238E27FC236}">
                <a16:creationId xmlns:a16="http://schemas.microsoft.com/office/drawing/2014/main" id="{4B445BAE-46B6-4A31-B792-AE77C4C7D362}"/>
              </a:ext>
            </a:extLst>
          </p:cNvPr>
          <p:cNvSpPr/>
          <p:nvPr/>
        </p:nvSpPr>
        <p:spPr bwMode="auto">
          <a:xfrm>
            <a:off x="8774447" y="5157347"/>
            <a:ext cx="1060554" cy="914270"/>
          </a:xfrm>
          <a:prstGeom prst="hexagon">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BarChartVertical_E9EC" title="Icon of a vertical bar graph">
            <a:extLst>
              <a:ext uri="{FF2B5EF4-FFF2-40B4-BE49-F238E27FC236}">
                <a16:creationId xmlns:a16="http://schemas.microsoft.com/office/drawing/2014/main" id="{D4901B1F-93E5-4BA4-B5FA-1153D940ED0C}"/>
              </a:ext>
            </a:extLst>
          </p:cNvPr>
          <p:cNvSpPr>
            <a:spLocks noChangeAspect="1" noEditPoints="1"/>
          </p:cNvSpPr>
          <p:nvPr/>
        </p:nvSpPr>
        <p:spPr bwMode="auto">
          <a:xfrm>
            <a:off x="9077713" y="5387420"/>
            <a:ext cx="454020" cy="454127"/>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71" name="Hexagon 70">
            <a:extLst>
              <a:ext uri="{FF2B5EF4-FFF2-40B4-BE49-F238E27FC236}">
                <a16:creationId xmlns:a16="http://schemas.microsoft.com/office/drawing/2014/main" id="{F5BFEA1F-0176-4B69-A248-35ABAD51DD1E}"/>
              </a:ext>
            </a:extLst>
          </p:cNvPr>
          <p:cNvSpPr/>
          <p:nvPr/>
        </p:nvSpPr>
        <p:spPr bwMode="auto">
          <a:xfrm>
            <a:off x="2357001" y="2811879"/>
            <a:ext cx="1060554" cy="914270"/>
          </a:xfrm>
          <a:prstGeom prst="hexagon">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EMI_E731" title="Icon of a tall rectangular building">
            <a:extLst>
              <a:ext uri="{FF2B5EF4-FFF2-40B4-BE49-F238E27FC236}">
                <a16:creationId xmlns:a16="http://schemas.microsoft.com/office/drawing/2014/main" id="{6869C023-2A44-4147-AC37-0FB8F199B808}"/>
              </a:ext>
            </a:extLst>
          </p:cNvPr>
          <p:cNvSpPr>
            <a:spLocks noChangeAspect="1" noEditPoints="1"/>
          </p:cNvSpPr>
          <p:nvPr/>
        </p:nvSpPr>
        <p:spPr bwMode="auto">
          <a:xfrm>
            <a:off x="2708029" y="2977799"/>
            <a:ext cx="358497" cy="582433"/>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73" name="Hexagon 72">
            <a:extLst>
              <a:ext uri="{FF2B5EF4-FFF2-40B4-BE49-F238E27FC236}">
                <a16:creationId xmlns:a16="http://schemas.microsoft.com/office/drawing/2014/main" id="{153B5014-9FE4-4592-9293-95AE4D98B7D1}"/>
              </a:ext>
            </a:extLst>
          </p:cNvPr>
          <p:cNvSpPr/>
          <p:nvPr/>
        </p:nvSpPr>
        <p:spPr bwMode="auto">
          <a:xfrm>
            <a:off x="8774447" y="1639145"/>
            <a:ext cx="1060554" cy="914270"/>
          </a:xfrm>
          <a:prstGeom prst="hexagon">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8B1E86DC-67A0-47EC-9EE3-A3CE6261E8E3}"/>
              </a:ext>
            </a:extLst>
          </p:cNvPr>
          <p:cNvSpPr/>
          <p:nvPr/>
        </p:nvSpPr>
        <p:spPr>
          <a:xfrm>
            <a:off x="9085953" y="2063701"/>
            <a:ext cx="445740" cy="257158"/>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75" name="Freeform: Shape 74">
            <a:extLst>
              <a:ext uri="{FF2B5EF4-FFF2-40B4-BE49-F238E27FC236}">
                <a16:creationId xmlns:a16="http://schemas.microsoft.com/office/drawing/2014/main" id="{215F7220-FD13-4295-8296-F0A401D28656}"/>
              </a:ext>
            </a:extLst>
          </p:cNvPr>
          <p:cNvSpPr/>
          <p:nvPr/>
        </p:nvSpPr>
        <p:spPr>
          <a:xfrm>
            <a:off x="9163461" y="2163136"/>
            <a:ext cx="291446" cy="171438"/>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76" name="Freeform: Shape 75">
            <a:extLst>
              <a:ext uri="{FF2B5EF4-FFF2-40B4-BE49-F238E27FC236}">
                <a16:creationId xmlns:a16="http://schemas.microsoft.com/office/drawing/2014/main" id="{1369EBFF-6576-4C52-9F1C-CEA9584A5B45}"/>
              </a:ext>
            </a:extLst>
          </p:cNvPr>
          <p:cNvSpPr/>
          <p:nvPr/>
        </p:nvSpPr>
        <p:spPr>
          <a:xfrm>
            <a:off x="9112029" y="2358575"/>
            <a:ext cx="394309" cy="17144"/>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77" name="Freeform: Shape 76">
            <a:extLst>
              <a:ext uri="{FF2B5EF4-FFF2-40B4-BE49-F238E27FC236}">
                <a16:creationId xmlns:a16="http://schemas.microsoft.com/office/drawing/2014/main" id="{8FB2833D-4641-4101-8694-777434DB43A6}"/>
              </a:ext>
            </a:extLst>
          </p:cNvPr>
          <p:cNvSpPr/>
          <p:nvPr/>
        </p:nvSpPr>
        <p:spPr>
          <a:xfrm>
            <a:off x="9216605" y="1849402"/>
            <a:ext cx="188582" cy="188582"/>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78" name="Freeform: Shape 77">
            <a:extLst>
              <a:ext uri="{FF2B5EF4-FFF2-40B4-BE49-F238E27FC236}">
                <a16:creationId xmlns:a16="http://schemas.microsoft.com/office/drawing/2014/main" id="{F4071E14-1DE1-479B-AEEF-0DFC63CBDA5F}"/>
              </a:ext>
            </a:extLst>
          </p:cNvPr>
          <p:cNvSpPr/>
          <p:nvPr/>
        </p:nvSpPr>
        <p:spPr>
          <a:xfrm>
            <a:off x="9077753" y="1816841"/>
            <a:ext cx="17144" cy="17144"/>
          </a:xfrm>
          <a:custGeom>
            <a:avLst/>
            <a:gdLst/>
            <a:ahLst/>
            <a:cxnLst/>
            <a:rect l="l" t="t" r="r" b="b"/>
            <a:pathLst>
              <a:path w="9525" h="9525"/>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79" name="Freeform: Shape 78">
            <a:extLst>
              <a:ext uri="{FF2B5EF4-FFF2-40B4-BE49-F238E27FC236}">
                <a16:creationId xmlns:a16="http://schemas.microsoft.com/office/drawing/2014/main" id="{9C638C3E-1E3A-4005-9A71-F1EA72FB7C40}"/>
              </a:ext>
            </a:extLst>
          </p:cNvPr>
          <p:cNvSpPr/>
          <p:nvPr/>
        </p:nvSpPr>
        <p:spPr>
          <a:xfrm>
            <a:off x="9078120" y="1817208"/>
            <a:ext cx="17144" cy="17144"/>
          </a:xfrm>
          <a:custGeom>
            <a:avLst/>
            <a:gdLst/>
            <a:ahLst/>
            <a:cxnLst/>
            <a:rect l="l" t="t" r="r" b="b"/>
            <a:pathLst>
              <a:path w="9525" h="9525"/>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80" name="Freeform: Shape 79">
            <a:extLst>
              <a:ext uri="{FF2B5EF4-FFF2-40B4-BE49-F238E27FC236}">
                <a16:creationId xmlns:a16="http://schemas.microsoft.com/office/drawing/2014/main" id="{80C460AD-F94B-4229-A2F2-E5EC840D420D}"/>
              </a:ext>
            </a:extLst>
          </p:cNvPr>
          <p:cNvSpPr/>
          <p:nvPr/>
        </p:nvSpPr>
        <p:spPr>
          <a:xfrm>
            <a:off x="9077753" y="1816841"/>
            <a:ext cx="17144" cy="17144"/>
          </a:xfrm>
          <a:custGeom>
            <a:avLst/>
            <a:gdLst/>
            <a:ahLst/>
            <a:cxnLst/>
            <a:rect l="l" t="t" r="r" b="b"/>
            <a:pathLst>
              <a:path w="9525" h="9525"/>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81" name="Hexagon 80">
            <a:extLst>
              <a:ext uri="{FF2B5EF4-FFF2-40B4-BE49-F238E27FC236}">
                <a16:creationId xmlns:a16="http://schemas.microsoft.com/office/drawing/2014/main" id="{2F10D635-8507-4BD9-AC08-2C3ED51CB99F}"/>
              </a:ext>
            </a:extLst>
          </p:cNvPr>
          <p:cNvSpPr/>
          <p:nvPr/>
        </p:nvSpPr>
        <p:spPr bwMode="auto">
          <a:xfrm>
            <a:off x="2357001" y="1639145"/>
            <a:ext cx="1060554" cy="914270"/>
          </a:xfrm>
          <a:prstGeom prst="hexagon">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2" name="Group 81">
            <a:extLst>
              <a:ext uri="{FF2B5EF4-FFF2-40B4-BE49-F238E27FC236}">
                <a16:creationId xmlns:a16="http://schemas.microsoft.com/office/drawing/2014/main" id="{7657F801-1266-4A76-9EDE-9555EA099E32}"/>
              </a:ext>
            </a:extLst>
          </p:cNvPr>
          <p:cNvGrpSpPr/>
          <p:nvPr/>
        </p:nvGrpSpPr>
        <p:grpSpPr>
          <a:xfrm>
            <a:off x="2589386" y="1924726"/>
            <a:ext cx="595786" cy="343113"/>
            <a:chOff x="8500691" y="3331800"/>
            <a:chExt cx="545791" cy="314325"/>
          </a:xfrm>
        </p:grpSpPr>
        <p:sp>
          <p:nvSpPr>
            <p:cNvPr id="83" name="Freeform: Shape 82">
              <a:extLst>
                <a:ext uri="{FF2B5EF4-FFF2-40B4-BE49-F238E27FC236}">
                  <a16:creationId xmlns:a16="http://schemas.microsoft.com/office/drawing/2014/main" id="{03F9E5C7-073C-42C6-A6CB-8C461A425A55}"/>
                </a:ext>
              </a:extLst>
            </p:cNvPr>
            <p:cNvSpPr/>
            <p:nvPr/>
          </p:nvSpPr>
          <p:spPr>
            <a:xfrm>
              <a:off x="8500691" y="3331800"/>
              <a:ext cx="257174"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84" name="Freeform: Shape 83">
              <a:extLst>
                <a:ext uri="{FF2B5EF4-FFF2-40B4-BE49-F238E27FC236}">
                  <a16:creationId xmlns:a16="http://schemas.microsoft.com/office/drawing/2014/main" id="{6D5FA8F9-D2BB-423D-82AA-393B8DEB4F66}"/>
                </a:ext>
              </a:extLst>
            </p:cNvPr>
            <p:cNvSpPr/>
            <p:nvPr/>
          </p:nvSpPr>
          <p:spPr>
            <a:xfrm>
              <a:off x="8703577" y="3370848"/>
              <a:ext cx="257174"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85" name="Freeform: Shape 84">
              <a:extLst>
                <a:ext uri="{FF2B5EF4-FFF2-40B4-BE49-F238E27FC236}">
                  <a16:creationId xmlns:a16="http://schemas.microsoft.com/office/drawing/2014/main" id="{37012ABC-D3A8-487E-B924-E72BC29E72F5}"/>
                </a:ext>
              </a:extLst>
            </p:cNvPr>
            <p:cNvSpPr/>
            <p:nvPr/>
          </p:nvSpPr>
          <p:spPr>
            <a:xfrm>
              <a:off x="8913126" y="3408000"/>
              <a:ext cx="133350" cy="219076"/>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86" name="Freeform: Shape 85">
              <a:extLst>
                <a:ext uri="{FF2B5EF4-FFF2-40B4-BE49-F238E27FC236}">
                  <a16:creationId xmlns:a16="http://schemas.microsoft.com/office/drawing/2014/main" id="{9F30DD6F-04EF-447D-91D4-C30B5910C941}"/>
                </a:ext>
              </a:extLst>
            </p:cNvPr>
            <p:cNvSpPr/>
            <p:nvPr/>
          </p:nvSpPr>
          <p:spPr>
            <a:xfrm>
              <a:off x="8744521" y="3552775"/>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87" name="Freeform: Shape 86">
              <a:extLst>
                <a:ext uri="{FF2B5EF4-FFF2-40B4-BE49-F238E27FC236}">
                  <a16:creationId xmlns:a16="http://schemas.microsoft.com/office/drawing/2014/main" id="{A6B2BB02-FCB0-4148-934B-4DF4529E45C7}"/>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sp>
        <p:nvSpPr>
          <p:cNvPr id="88" name="Hexagon 87">
            <a:extLst>
              <a:ext uri="{FF2B5EF4-FFF2-40B4-BE49-F238E27FC236}">
                <a16:creationId xmlns:a16="http://schemas.microsoft.com/office/drawing/2014/main" id="{B2617006-34ED-42ED-AD99-0998532851C0}"/>
              </a:ext>
            </a:extLst>
          </p:cNvPr>
          <p:cNvSpPr/>
          <p:nvPr/>
        </p:nvSpPr>
        <p:spPr bwMode="auto">
          <a:xfrm>
            <a:off x="2357001" y="3984614"/>
            <a:ext cx="1060554" cy="914270"/>
          </a:xfrm>
          <a:prstGeom prst="hexagon">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Graphic 22">
            <a:extLst>
              <a:ext uri="{FF2B5EF4-FFF2-40B4-BE49-F238E27FC236}">
                <a16:creationId xmlns:a16="http://schemas.microsoft.com/office/drawing/2014/main" id="{D8233C85-C793-4AC9-8403-9736BBA2CDCD}"/>
              </a:ext>
            </a:extLst>
          </p:cNvPr>
          <p:cNvSpPr/>
          <p:nvPr/>
        </p:nvSpPr>
        <p:spPr>
          <a:xfrm>
            <a:off x="2577037" y="4228765"/>
            <a:ext cx="620481" cy="425970"/>
          </a:xfrm>
          <a:custGeom>
            <a:avLst/>
            <a:gdLst>
              <a:gd name="connsiteX0" fmla="*/ 248943 w 748139"/>
              <a:gd name="connsiteY0" fmla="*/ 258115 h 513610"/>
              <a:gd name="connsiteX1" fmla="*/ 271217 w 748139"/>
              <a:gd name="connsiteY1" fmla="*/ 330178 h 513610"/>
              <a:gd name="connsiteX2" fmla="*/ 271217 w 748139"/>
              <a:gd name="connsiteY2" fmla="*/ 331488 h 513610"/>
              <a:gd name="connsiteX3" fmla="*/ 296111 w 748139"/>
              <a:gd name="connsiteY3" fmla="*/ 376036 h 513610"/>
              <a:gd name="connsiteX4" fmla="*/ 296111 w 748139"/>
              <a:gd name="connsiteY4" fmla="*/ 376036 h 513610"/>
              <a:gd name="connsiteX5" fmla="*/ 296111 w 748139"/>
              <a:gd name="connsiteY5" fmla="*/ 376036 h 513610"/>
              <a:gd name="connsiteX6" fmla="*/ 296111 w 748139"/>
              <a:gd name="connsiteY6" fmla="*/ 376036 h 513610"/>
              <a:gd name="connsiteX7" fmla="*/ 286940 w 748139"/>
              <a:gd name="connsiteY7" fmla="*/ 400930 h 513610"/>
              <a:gd name="connsiteX8" fmla="*/ 271217 w 748139"/>
              <a:gd name="connsiteY8" fmla="*/ 400930 h 513610"/>
              <a:gd name="connsiteX9" fmla="*/ 271217 w 748139"/>
              <a:gd name="connsiteY9" fmla="*/ 423204 h 513610"/>
              <a:gd name="connsiteX10" fmla="*/ 259425 w 748139"/>
              <a:gd name="connsiteY10" fmla="*/ 454650 h 513610"/>
              <a:gd name="connsiteX11" fmla="*/ 227980 w 748139"/>
              <a:gd name="connsiteY11" fmla="*/ 467752 h 513610"/>
              <a:gd name="connsiteX12" fmla="*/ 209636 w 748139"/>
              <a:gd name="connsiteY12" fmla="*/ 467752 h 513610"/>
              <a:gd name="connsiteX13" fmla="*/ 209636 w 748139"/>
              <a:gd name="connsiteY13" fmla="*/ 512300 h 513610"/>
              <a:gd name="connsiteX14" fmla="*/ 95647 w 748139"/>
              <a:gd name="connsiteY14" fmla="*/ 512300 h 513610"/>
              <a:gd name="connsiteX15" fmla="*/ 95647 w 748139"/>
              <a:gd name="connsiteY15" fmla="*/ 419274 h 513610"/>
              <a:gd name="connsiteX16" fmla="*/ 60270 w 748139"/>
              <a:gd name="connsiteY16" fmla="*/ 370795 h 513610"/>
              <a:gd name="connsiteX17" fmla="*/ 86475 w 748139"/>
              <a:gd name="connsiteY17" fmla="*/ 263356 h 513610"/>
              <a:gd name="connsiteX18" fmla="*/ 86475 w 748139"/>
              <a:gd name="connsiteY18" fmla="*/ 209637 h 513610"/>
              <a:gd name="connsiteX19" fmla="*/ 150676 w 748139"/>
              <a:gd name="connsiteY19" fmla="*/ 247633 h 513610"/>
              <a:gd name="connsiteX20" fmla="*/ 150676 w 748139"/>
              <a:gd name="connsiteY20" fmla="*/ 222739 h 513610"/>
              <a:gd name="connsiteX21" fmla="*/ 136264 w 748139"/>
              <a:gd name="connsiteY21" fmla="*/ 208327 h 513610"/>
              <a:gd name="connsiteX22" fmla="*/ 136264 w 748139"/>
              <a:gd name="connsiteY22" fmla="*/ 208327 h 513610"/>
              <a:gd name="connsiteX23" fmla="*/ 121851 w 748139"/>
              <a:gd name="connsiteY23" fmla="*/ 222739 h 513610"/>
              <a:gd name="connsiteX24" fmla="*/ 121851 w 748139"/>
              <a:gd name="connsiteY24" fmla="*/ 247633 h 513610"/>
              <a:gd name="connsiteX25" fmla="*/ 136264 w 748139"/>
              <a:gd name="connsiteY25" fmla="*/ 262046 h 513610"/>
              <a:gd name="connsiteX26" fmla="*/ 136264 w 748139"/>
              <a:gd name="connsiteY26" fmla="*/ 262046 h 513610"/>
              <a:gd name="connsiteX27" fmla="*/ 150676 w 748139"/>
              <a:gd name="connsiteY27" fmla="*/ 247633 h 513610"/>
              <a:gd name="connsiteX28" fmla="*/ 186052 w 748139"/>
              <a:gd name="connsiteY28" fmla="*/ 263356 h 513610"/>
              <a:gd name="connsiteX29" fmla="*/ 186052 w 748139"/>
              <a:gd name="connsiteY29" fmla="*/ 209637 h 513610"/>
              <a:gd name="connsiteX30" fmla="*/ 200465 w 748139"/>
              <a:gd name="connsiteY30" fmla="*/ 339350 h 513610"/>
              <a:gd name="connsiteX31" fmla="*/ 200465 w 748139"/>
              <a:gd name="connsiteY31" fmla="*/ 339350 h 513610"/>
              <a:gd name="connsiteX32" fmla="*/ 214877 w 748139"/>
              <a:gd name="connsiteY32" fmla="*/ 324937 h 513610"/>
              <a:gd name="connsiteX33" fmla="*/ 214877 w 748139"/>
              <a:gd name="connsiteY33" fmla="*/ 300043 h 513610"/>
              <a:gd name="connsiteX34" fmla="*/ 200465 w 748139"/>
              <a:gd name="connsiteY34" fmla="*/ 285630 h 513610"/>
              <a:gd name="connsiteX35" fmla="*/ 200465 w 748139"/>
              <a:gd name="connsiteY35" fmla="*/ 285630 h 513610"/>
              <a:gd name="connsiteX36" fmla="*/ 186052 w 748139"/>
              <a:gd name="connsiteY36" fmla="*/ 300043 h 513610"/>
              <a:gd name="connsiteX37" fmla="*/ 186052 w 748139"/>
              <a:gd name="connsiteY37" fmla="*/ 324937 h 513610"/>
              <a:gd name="connsiteX38" fmla="*/ 200465 w 748139"/>
              <a:gd name="connsiteY38" fmla="*/ 339350 h 513610"/>
              <a:gd name="connsiteX39" fmla="*/ 121851 w 748139"/>
              <a:gd name="connsiteY39" fmla="*/ 360313 h 513610"/>
              <a:gd name="connsiteX40" fmla="*/ 121851 w 748139"/>
              <a:gd name="connsiteY40" fmla="*/ 360313 h 513610"/>
              <a:gd name="connsiteX41" fmla="*/ 136264 w 748139"/>
              <a:gd name="connsiteY41" fmla="*/ 345901 h 513610"/>
              <a:gd name="connsiteX42" fmla="*/ 136264 w 748139"/>
              <a:gd name="connsiteY42" fmla="*/ 321006 h 513610"/>
              <a:gd name="connsiteX43" fmla="*/ 121851 w 748139"/>
              <a:gd name="connsiteY43" fmla="*/ 306594 h 513610"/>
              <a:gd name="connsiteX44" fmla="*/ 121851 w 748139"/>
              <a:gd name="connsiteY44" fmla="*/ 306594 h 513610"/>
              <a:gd name="connsiteX45" fmla="*/ 107439 w 748139"/>
              <a:gd name="connsiteY45" fmla="*/ 321006 h 513610"/>
              <a:gd name="connsiteX46" fmla="*/ 107439 w 748139"/>
              <a:gd name="connsiteY46" fmla="*/ 345901 h 513610"/>
              <a:gd name="connsiteX47" fmla="*/ 121851 w 748139"/>
              <a:gd name="connsiteY47" fmla="*/ 360313 h 513610"/>
              <a:gd name="connsiteX48" fmla="*/ 57650 w 748139"/>
              <a:gd name="connsiteY48" fmla="*/ 339350 h 513610"/>
              <a:gd name="connsiteX49" fmla="*/ 57650 w 748139"/>
              <a:gd name="connsiteY49" fmla="*/ 285630 h 513610"/>
              <a:gd name="connsiteX50" fmla="*/ 144125 w 748139"/>
              <a:gd name="connsiteY50" fmla="*/ 166399 h 513610"/>
              <a:gd name="connsiteX51" fmla="*/ 144125 w 748139"/>
              <a:gd name="connsiteY51" fmla="*/ 166399 h 513610"/>
              <a:gd name="connsiteX52" fmla="*/ 158538 w 748139"/>
              <a:gd name="connsiteY52" fmla="*/ 151987 h 513610"/>
              <a:gd name="connsiteX53" fmla="*/ 158538 w 748139"/>
              <a:gd name="connsiteY53" fmla="*/ 127092 h 513610"/>
              <a:gd name="connsiteX54" fmla="*/ 144125 w 748139"/>
              <a:gd name="connsiteY54" fmla="*/ 112680 h 513610"/>
              <a:gd name="connsiteX55" fmla="*/ 144125 w 748139"/>
              <a:gd name="connsiteY55" fmla="*/ 112680 h 513610"/>
              <a:gd name="connsiteX56" fmla="*/ 129713 w 748139"/>
              <a:gd name="connsiteY56" fmla="*/ 127092 h 513610"/>
              <a:gd name="connsiteX57" fmla="*/ 129713 w 748139"/>
              <a:gd name="connsiteY57" fmla="*/ 150676 h 513610"/>
              <a:gd name="connsiteX58" fmla="*/ 144125 w 748139"/>
              <a:gd name="connsiteY58" fmla="*/ 166399 h 513610"/>
              <a:gd name="connsiteX59" fmla="*/ 200465 w 748139"/>
              <a:gd name="connsiteY59" fmla="*/ 93026 h 513610"/>
              <a:gd name="connsiteX60" fmla="*/ 200465 w 748139"/>
              <a:gd name="connsiteY60" fmla="*/ 93026 h 513610"/>
              <a:gd name="connsiteX61" fmla="*/ 214877 w 748139"/>
              <a:gd name="connsiteY61" fmla="*/ 78614 h 513610"/>
              <a:gd name="connsiteX62" fmla="*/ 214877 w 748139"/>
              <a:gd name="connsiteY62" fmla="*/ 53719 h 513610"/>
              <a:gd name="connsiteX63" fmla="*/ 200465 w 748139"/>
              <a:gd name="connsiteY63" fmla="*/ 39307 h 513610"/>
              <a:gd name="connsiteX64" fmla="*/ 200465 w 748139"/>
              <a:gd name="connsiteY64" fmla="*/ 39307 h 513610"/>
              <a:gd name="connsiteX65" fmla="*/ 186052 w 748139"/>
              <a:gd name="connsiteY65" fmla="*/ 53719 h 513610"/>
              <a:gd name="connsiteX66" fmla="*/ 186052 w 748139"/>
              <a:gd name="connsiteY66" fmla="*/ 78614 h 513610"/>
              <a:gd name="connsiteX67" fmla="*/ 200465 w 748139"/>
              <a:gd name="connsiteY67" fmla="*/ 93026 h 513610"/>
              <a:gd name="connsiteX68" fmla="*/ 436306 w 748139"/>
              <a:gd name="connsiteY68" fmla="*/ 166399 h 513610"/>
              <a:gd name="connsiteX69" fmla="*/ 436306 w 748139"/>
              <a:gd name="connsiteY69" fmla="*/ 166399 h 513610"/>
              <a:gd name="connsiteX70" fmla="*/ 450718 w 748139"/>
              <a:gd name="connsiteY70" fmla="*/ 151987 h 513610"/>
              <a:gd name="connsiteX71" fmla="*/ 450718 w 748139"/>
              <a:gd name="connsiteY71" fmla="*/ 127092 h 513610"/>
              <a:gd name="connsiteX72" fmla="*/ 436306 w 748139"/>
              <a:gd name="connsiteY72" fmla="*/ 112680 h 513610"/>
              <a:gd name="connsiteX73" fmla="*/ 436306 w 748139"/>
              <a:gd name="connsiteY73" fmla="*/ 112680 h 513610"/>
              <a:gd name="connsiteX74" fmla="*/ 421893 w 748139"/>
              <a:gd name="connsiteY74" fmla="*/ 127092 h 513610"/>
              <a:gd name="connsiteX75" fmla="*/ 421893 w 748139"/>
              <a:gd name="connsiteY75" fmla="*/ 150676 h 513610"/>
              <a:gd name="connsiteX76" fmla="*/ 436306 w 748139"/>
              <a:gd name="connsiteY76" fmla="*/ 166399 h 513610"/>
              <a:gd name="connsiteX77" fmla="*/ 328867 w 748139"/>
              <a:gd name="connsiteY77" fmla="*/ 53719 h 513610"/>
              <a:gd name="connsiteX78" fmla="*/ 328867 w 748139"/>
              <a:gd name="connsiteY78" fmla="*/ 53719 h 513610"/>
              <a:gd name="connsiteX79" fmla="*/ 343280 w 748139"/>
              <a:gd name="connsiteY79" fmla="*/ 39307 h 513610"/>
              <a:gd name="connsiteX80" fmla="*/ 343280 w 748139"/>
              <a:gd name="connsiteY80" fmla="*/ 14413 h 513610"/>
              <a:gd name="connsiteX81" fmla="*/ 328867 w 748139"/>
              <a:gd name="connsiteY81" fmla="*/ 0 h 513610"/>
              <a:gd name="connsiteX82" fmla="*/ 328867 w 748139"/>
              <a:gd name="connsiteY82" fmla="*/ 0 h 513610"/>
              <a:gd name="connsiteX83" fmla="*/ 314455 w 748139"/>
              <a:gd name="connsiteY83" fmla="*/ 14413 h 513610"/>
              <a:gd name="connsiteX84" fmla="*/ 314455 w 748139"/>
              <a:gd name="connsiteY84" fmla="*/ 39307 h 513610"/>
              <a:gd name="connsiteX85" fmla="*/ 328867 w 748139"/>
              <a:gd name="connsiteY85" fmla="*/ 53719 h 513610"/>
              <a:gd name="connsiteX86" fmla="*/ 510989 w 748139"/>
              <a:gd name="connsiteY86" fmla="*/ 158538 h 513610"/>
              <a:gd name="connsiteX87" fmla="*/ 510989 w 748139"/>
              <a:gd name="connsiteY87" fmla="*/ 158538 h 513610"/>
              <a:gd name="connsiteX88" fmla="*/ 525401 w 748139"/>
              <a:gd name="connsiteY88" fmla="*/ 144125 h 513610"/>
              <a:gd name="connsiteX89" fmla="*/ 525401 w 748139"/>
              <a:gd name="connsiteY89" fmla="*/ 119231 h 513610"/>
              <a:gd name="connsiteX90" fmla="*/ 510989 w 748139"/>
              <a:gd name="connsiteY90" fmla="*/ 104818 h 513610"/>
              <a:gd name="connsiteX91" fmla="*/ 510989 w 748139"/>
              <a:gd name="connsiteY91" fmla="*/ 104818 h 513610"/>
              <a:gd name="connsiteX92" fmla="*/ 496576 w 748139"/>
              <a:gd name="connsiteY92" fmla="*/ 119231 h 513610"/>
              <a:gd name="connsiteX93" fmla="*/ 496576 w 748139"/>
              <a:gd name="connsiteY93" fmla="*/ 144125 h 513610"/>
              <a:gd name="connsiteX94" fmla="*/ 510989 w 748139"/>
              <a:gd name="connsiteY94" fmla="*/ 158538 h 513610"/>
              <a:gd name="connsiteX95" fmla="*/ 610566 w 748139"/>
              <a:gd name="connsiteY95" fmla="*/ 89096 h 513610"/>
              <a:gd name="connsiteX96" fmla="*/ 610566 w 748139"/>
              <a:gd name="connsiteY96" fmla="*/ 89096 h 513610"/>
              <a:gd name="connsiteX97" fmla="*/ 624979 w 748139"/>
              <a:gd name="connsiteY97" fmla="*/ 74683 h 513610"/>
              <a:gd name="connsiteX98" fmla="*/ 624979 w 748139"/>
              <a:gd name="connsiteY98" fmla="*/ 49789 h 513610"/>
              <a:gd name="connsiteX99" fmla="*/ 610566 w 748139"/>
              <a:gd name="connsiteY99" fmla="*/ 35376 h 513610"/>
              <a:gd name="connsiteX100" fmla="*/ 610566 w 748139"/>
              <a:gd name="connsiteY100" fmla="*/ 35376 h 513610"/>
              <a:gd name="connsiteX101" fmla="*/ 596154 w 748139"/>
              <a:gd name="connsiteY101" fmla="*/ 49789 h 513610"/>
              <a:gd name="connsiteX102" fmla="*/ 596154 w 748139"/>
              <a:gd name="connsiteY102" fmla="*/ 74683 h 513610"/>
              <a:gd name="connsiteX103" fmla="*/ 610566 w 748139"/>
              <a:gd name="connsiteY103" fmla="*/ 89096 h 513610"/>
              <a:gd name="connsiteX104" fmla="*/ 436306 w 748139"/>
              <a:gd name="connsiteY104" fmla="*/ 53719 h 513610"/>
              <a:gd name="connsiteX105" fmla="*/ 436306 w 748139"/>
              <a:gd name="connsiteY105" fmla="*/ 53719 h 513610"/>
              <a:gd name="connsiteX106" fmla="*/ 450718 w 748139"/>
              <a:gd name="connsiteY106" fmla="*/ 39307 h 513610"/>
              <a:gd name="connsiteX107" fmla="*/ 450718 w 748139"/>
              <a:gd name="connsiteY107" fmla="*/ 14413 h 513610"/>
              <a:gd name="connsiteX108" fmla="*/ 436306 w 748139"/>
              <a:gd name="connsiteY108" fmla="*/ 0 h 513610"/>
              <a:gd name="connsiteX109" fmla="*/ 436306 w 748139"/>
              <a:gd name="connsiteY109" fmla="*/ 0 h 513610"/>
              <a:gd name="connsiteX110" fmla="*/ 421893 w 748139"/>
              <a:gd name="connsiteY110" fmla="*/ 14413 h 513610"/>
              <a:gd name="connsiteX111" fmla="*/ 421893 w 748139"/>
              <a:gd name="connsiteY111" fmla="*/ 39307 h 513610"/>
              <a:gd name="connsiteX112" fmla="*/ 436306 w 748139"/>
              <a:gd name="connsiteY112" fmla="*/ 53719 h 513610"/>
              <a:gd name="connsiteX113" fmla="*/ 290871 w 748139"/>
              <a:gd name="connsiteY113" fmla="*/ 138884 h 513610"/>
              <a:gd name="connsiteX114" fmla="*/ 290871 w 748139"/>
              <a:gd name="connsiteY114" fmla="*/ 138884 h 513610"/>
              <a:gd name="connsiteX115" fmla="*/ 305283 w 748139"/>
              <a:gd name="connsiteY115" fmla="*/ 124472 h 513610"/>
              <a:gd name="connsiteX116" fmla="*/ 305283 w 748139"/>
              <a:gd name="connsiteY116" fmla="*/ 99577 h 513610"/>
              <a:gd name="connsiteX117" fmla="*/ 290871 w 748139"/>
              <a:gd name="connsiteY117" fmla="*/ 85165 h 513610"/>
              <a:gd name="connsiteX118" fmla="*/ 290871 w 748139"/>
              <a:gd name="connsiteY118" fmla="*/ 85165 h 513610"/>
              <a:gd name="connsiteX119" fmla="*/ 276458 w 748139"/>
              <a:gd name="connsiteY119" fmla="*/ 99577 h 513610"/>
              <a:gd name="connsiteX120" fmla="*/ 276458 w 748139"/>
              <a:gd name="connsiteY120" fmla="*/ 124472 h 513610"/>
              <a:gd name="connsiteX121" fmla="*/ 290871 w 748139"/>
              <a:gd name="connsiteY121" fmla="*/ 138884 h 513610"/>
              <a:gd name="connsiteX122" fmla="*/ 60270 w 748139"/>
              <a:gd name="connsiteY122" fmla="*/ 180812 h 513610"/>
              <a:gd name="connsiteX123" fmla="*/ 60270 w 748139"/>
              <a:gd name="connsiteY123" fmla="*/ 127092 h 513610"/>
              <a:gd name="connsiteX124" fmla="*/ 547675 w 748139"/>
              <a:gd name="connsiteY124" fmla="*/ 89096 h 513610"/>
              <a:gd name="connsiteX125" fmla="*/ 547675 w 748139"/>
              <a:gd name="connsiteY125" fmla="*/ 35376 h 513610"/>
              <a:gd name="connsiteX126" fmla="*/ 246323 w 748139"/>
              <a:gd name="connsiteY126" fmla="*/ 81234 h 513610"/>
              <a:gd name="connsiteX127" fmla="*/ 246323 w 748139"/>
              <a:gd name="connsiteY127" fmla="*/ 27515 h 513610"/>
              <a:gd name="connsiteX128" fmla="*/ 487405 w 748139"/>
              <a:gd name="connsiteY128" fmla="*/ 66822 h 513610"/>
              <a:gd name="connsiteX129" fmla="*/ 487405 w 748139"/>
              <a:gd name="connsiteY129" fmla="*/ 13102 h 513610"/>
              <a:gd name="connsiteX130" fmla="*/ 218808 w 748139"/>
              <a:gd name="connsiteY130" fmla="*/ 134954 h 513610"/>
              <a:gd name="connsiteX131" fmla="*/ 218808 w 748139"/>
              <a:gd name="connsiteY131" fmla="*/ 188673 h 513610"/>
              <a:gd name="connsiteX132" fmla="*/ 383897 w 748139"/>
              <a:gd name="connsiteY132" fmla="*/ 53719 h 513610"/>
              <a:gd name="connsiteX133" fmla="*/ 383897 w 748139"/>
              <a:gd name="connsiteY133" fmla="*/ 107439 h 513610"/>
              <a:gd name="connsiteX134" fmla="*/ 344590 w 748139"/>
              <a:gd name="connsiteY134" fmla="*/ 116610 h 513610"/>
              <a:gd name="connsiteX135" fmla="*/ 344590 w 748139"/>
              <a:gd name="connsiteY135" fmla="*/ 170330 h 513610"/>
              <a:gd name="connsiteX136" fmla="*/ 0 w 748139"/>
              <a:gd name="connsiteY136" fmla="*/ 336729 h 513610"/>
              <a:gd name="connsiteX137" fmla="*/ 0 w 748139"/>
              <a:gd name="connsiteY137" fmla="*/ 283010 h 513610"/>
              <a:gd name="connsiteX138" fmla="*/ 745520 w 748139"/>
              <a:gd name="connsiteY138" fmla="*/ 372105 h 513610"/>
              <a:gd name="connsiteX139" fmla="*/ 710143 w 748139"/>
              <a:gd name="connsiteY139" fmla="*/ 420584 h 513610"/>
              <a:gd name="connsiteX140" fmla="*/ 710143 w 748139"/>
              <a:gd name="connsiteY140" fmla="*/ 513610 h 513610"/>
              <a:gd name="connsiteX141" fmla="*/ 594843 w 748139"/>
              <a:gd name="connsiteY141" fmla="*/ 513610 h 513610"/>
              <a:gd name="connsiteX142" fmla="*/ 594843 w 748139"/>
              <a:gd name="connsiteY142" fmla="*/ 469062 h 513610"/>
              <a:gd name="connsiteX143" fmla="*/ 576500 w 748139"/>
              <a:gd name="connsiteY143" fmla="*/ 469062 h 513610"/>
              <a:gd name="connsiteX144" fmla="*/ 545055 w 748139"/>
              <a:gd name="connsiteY144" fmla="*/ 455960 h 513610"/>
              <a:gd name="connsiteX145" fmla="*/ 533263 w 748139"/>
              <a:gd name="connsiteY145" fmla="*/ 424515 h 513610"/>
              <a:gd name="connsiteX146" fmla="*/ 533263 w 748139"/>
              <a:gd name="connsiteY146" fmla="*/ 402241 h 513610"/>
              <a:gd name="connsiteX147" fmla="*/ 517540 w 748139"/>
              <a:gd name="connsiteY147" fmla="*/ 402241 h 513610"/>
              <a:gd name="connsiteX148" fmla="*/ 508368 w 748139"/>
              <a:gd name="connsiteY148" fmla="*/ 377346 h 513610"/>
              <a:gd name="connsiteX149" fmla="*/ 508368 w 748139"/>
              <a:gd name="connsiteY149" fmla="*/ 377346 h 513610"/>
              <a:gd name="connsiteX150" fmla="*/ 508368 w 748139"/>
              <a:gd name="connsiteY150" fmla="*/ 377346 h 513610"/>
              <a:gd name="connsiteX151" fmla="*/ 508368 w 748139"/>
              <a:gd name="connsiteY151" fmla="*/ 377346 h 513610"/>
              <a:gd name="connsiteX152" fmla="*/ 533263 w 748139"/>
              <a:gd name="connsiteY152" fmla="*/ 332798 h 513610"/>
              <a:gd name="connsiteX153" fmla="*/ 533263 w 748139"/>
              <a:gd name="connsiteY153" fmla="*/ 331488 h 513610"/>
              <a:gd name="connsiteX154" fmla="*/ 552916 w 748139"/>
              <a:gd name="connsiteY154" fmla="*/ 263356 h 513610"/>
              <a:gd name="connsiteX155" fmla="*/ 719315 w 748139"/>
              <a:gd name="connsiteY155" fmla="*/ 208327 h 513610"/>
              <a:gd name="connsiteX156" fmla="*/ 719315 w 748139"/>
              <a:gd name="connsiteY156" fmla="*/ 262046 h 513610"/>
              <a:gd name="connsiteX157" fmla="*/ 683939 w 748139"/>
              <a:gd name="connsiteY157" fmla="*/ 247633 h 513610"/>
              <a:gd name="connsiteX158" fmla="*/ 683939 w 748139"/>
              <a:gd name="connsiteY158" fmla="*/ 222739 h 513610"/>
              <a:gd name="connsiteX159" fmla="*/ 669526 w 748139"/>
              <a:gd name="connsiteY159" fmla="*/ 208327 h 513610"/>
              <a:gd name="connsiteX160" fmla="*/ 669526 w 748139"/>
              <a:gd name="connsiteY160" fmla="*/ 208327 h 513610"/>
              <a:gd name="connsiteX161" fmla="*/ 655114 w 748139"/>
              <a:gd name="connsiteY161" fmla="*/ 222739 h 513610"/>
              <a:gd name="connsiteX162" fmla="*/ 655114 w 748139"/>
              <a:gd name="connsiteY162" fmla="*/ 247633 h 513610"/>
              <a:gd name="connsiteX163" fmla="*/ 669526 w 748139"/>
              <a:gd name="connsiteY163" fmla="*/ 262046 h 513610"/>
              <a:gd name="connsiteX164" fmla="*/ 669526 w 748139"/>
              <a:gd name="connsiteY164" fmla="*/ 262046 h 513610"/>
              <a:gd name="connsiteX165" fmla="*/ 683939 w 748139"/>
              <a:gd name="connsiteY165" fmla="*/ 247633 h 513610"/>
              <a:gd name="connsiteX166" fmla="*/ 619738 w 748139"/>
              <a:gd name="connsiteY166" fmla="*/ 208327 h 513610"/>
              <a:gd name="connsiteX167" fmla="*/ 619738 w 748139"/>
              <a:gd name="connsiteY167" fmla="*/ 262046 h 513610"/>
              <a:gd name="connsiteX168" fmla="*/ 605325 w 748139"/>
              <a:gd name="connsiteY168" fmla="*/ 285630 h 513610"/>
              <a:gd name="connsiteX169" fmla="*/ 605325 w 748139"/>
              <a:gd name="connsiteY169" fmla="*/ 285630 h 513610"/>
              <a:gd name="connsiteX170" fmla="*/ 590913 w 748139"/>
              <a:gd name="connsiteY170" fmla="*/ 300043 h 513610"/>
              <a:gd name="connsiteX171" fmla="*/ 590913 w 748139"/>
              <a:gd name="connsiteY171" fmla="*/ 324937 h 513610"/>
              <a:gd name="connsiteX172" fmla="*/ 605325 w 748139"/>
              <a:gd name="connsiteY172" fmla="*/ 339350 h 513610"/>
              <a:gd name="connsiteX173" fmla="*/ 605325 w 748139"/>
              <a:gd name="connsiteY173" fmla="*/ 339350 h 513610"/>
              <a:gd name="connsiteX174" fmla="*/ 619738 w 748139"/>
              <a:gd name="connsiteY174" fmla="*/ 324937 h 513610"/>
              <a:gd name="connsiteX175" fmla="*/ 619738 w 748139"/>
              <a:gd name="connsiteY175" fmla="*/ 300043 h 513610"/>
              <a:gd name="connsiteX176" fmla="*/ 605325 w 748139"/>
              <a:gd name="connsiteY176" fmla="*/ 285630 h 513610"/>
              <a:gd name="connsiteX177" fmla="*/ 683939 w 748139"/>
              <a:gd name="connsiteY177" fmla="*/ 306594 h 513610"/>
              <a:gd name="connsiteX178" fmla="*/ 683939 w 748139"/>
              <a:gd name="connsiteY178" fmla="*/ 306594 h 513610"/>
              <a:gd name="connsiteX179" fmla="*/ 669526 w 748139"/>
              <a:gd name="connsiteY179" fmla="*/ 321006 h 513610"/>
              <a:gd name="connsiteX180" fmla="*/ 669526 w 748139"/>
              <a:gd name="connsiteY180" fmla="*/ 345901 h 513610"/>
              <a:gd name="connsiteX181" fmla="*/ 683939 w 748139"/>
              <a:gd name="connsiteY181" fmla="*/ 360313 h 513610"/>
              <a:gd name="connsiteX182" fmla="*/ 683939 w 748139"/>
              <a:gd name="connsiteY182" fmla="*/ 360313 h 513610"/>
              <a:gd name="connsiteX183" fmla="*/ 698351 w 748139"/>
              <a:gd name="connsiteY183" fmla="*/ 345901 h 513610"/>
              <a:gd name="connsiteX184" fmla="*/ 698351 w 748139"/>
              <a:gd name="connsiteY184" fmla="*/ 321006 h 513610"/>
              <a:gd name="connsiteX185" fmla="*/ 683939 w 748139"/>
              <a:gd name="connsiteY185" fmla="*/ 306594 h 513610"/>
              <a:gd name="connsiteX186" fmla="*/ 748140 w 748139"/>
              <a:gd name="connsiteY186" fmla="*/ 285630 h 513610"/>
              <a:gd name="connsiteX187" fmla="*/ 748140 w 748139"/>
              <a:gd name="connsiteY187" fmla="*/ 339350 h 513610"/>
              <a:gd name="connsiteX188" fmla="*/ 661665 w 748139"/>
              <a:gd name="connsiteY188" fmla="*/ 111370 h 513610"/>
              <a:gd name="connsiteX189" fmla="*/ 661665 w 748139"/>
              <a:gd name="connsiteY189" fmla="*/ 111370 h 513610"/>
              <a:gd name="connsiteX190" fmla="*/ 647252 w 748139"/>
              <a:gd name="connsiteY190" fmla="*/ 125782 h 513610"/>
              <a:gd name="connsiteX191" fmla="*/ 647252 w 748139"/>
              <a:gd name="connsiteY191" fmla="*/ 150676 h 513610"/>
              <a:gd name="connsiteX192" fmla="*/ 661665 w 748139"/>
              <a:gd name="connsiteY192" fmla="*/ 165089 h 513610"/>
              <a:gd name="connsiteX193" fmla="*/ 661665 w 748139"/>
              <a:gd name="connsiteY193" fmla="*/ 165089 h 513610"/>
              <a:gd name="connsiteX194" fmla="*/ 676077 w 748139"/>
              <a:gd name="connsiteY194" fmla="*/ 150676 h 513610"/>
              <a:gd name="connsiteX195" fmla="*/ 676077 w 748139"/>
              <a:gd name="connsiteY195" fmla="*/ 125782 h 513610"/>
              <a:gd name="connsiteX196" fmla="*/ 661665 w 748139"/>
              <a:gd name="connsiteY196" fmla="*/ 111370 h 513610"/>
              <a:gd name="connsiteX197" fmla="*/ 745520 w 748139"/>
              <a:gd name="connsiteY197" fmla="*/ 125782 h 513610"/>
              <a:gd name="connsiteX198" fmla="*/ 745520 w 748139"/>
              <a:gd name="connsiteY198" fmla="*/ 179502 h 513610"/>
              <a:gd name="connsiteX199" fmla="*/ 586982 w 748139"/>
              <a:gd name="connsiteY199" fmla="*/ 188673 h 513610"/>
              <a:gd name="connsiteX200" fmla="*/ 586982 w 748139"/>
              <a:gd name="connsiteY200" fmla="*/ 134954 h 51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748139" h="513610">
                <a:moveTo>
                  <a:pt x="248943" y="258115"/>
                </a:moveTo>
                <a:cubicBezTo>
                  <a:pt x="264666" y="277769"/>
                  <a:pt x="272527" y="303973"/>
                  <a:pt x="271217" y="330178"/>
                </a:cubicBezTo>
                <a:lnTo>
                  <a:pt x="271217" y="331488"/>
                </a:lnTo>
                <a:lnTo>
                  <a:pt x="296111" y="376036"/>
                </a:lnTo>
                <a:lnTo>
                  <a:pt x="296111" y="376036"/>
                </a:lnTo>
                <a:lnTo>
                  <a:pt x="296111" y="376036"/>
                </a:lnTo>
                <a:lnTo>
                  <a:pt x="296111" y="376036"/>
                </a:lnTo>
                <a:cubicBezTo>
                  <a:pt x="303973" y="389138"/>
                  <a:pt x="296111" y="400930"/>
                  <a:pt x="286940" y="400930"/>
                </a:cubicBezTo>
                <a:lnTo>
                  <a:pt x="271217" y="400930"/>
                </a:lnTo>
                <a:lnTo>
                  <a:pt x="271217" y="423204"/>
                </a:lnTo>
                <a:cubicBezTo>
                  <a:pt x="271217" y="434996"/>
                  <a:pt x="267286" y="445478"/>
                  <a:pt x="259425" y="454650"/>
                </a:cubicBezTo>
                <a:cubicBezTo>
                  <a:pt x="251564" y="462511"/>
                  <a:pt x="239772" y="467752"/>
                  <a:pt x="227980" y="467752"/>
                </a:cubicBezTo>
                <a:lnTo>
                  <a:pt x="209636" y="467752"/>
                </a:lnTo>
                <a:lnTo>
                  <a:pt x="209636" y="512300"/>
                </a:lnTo>
                <a:lnTo>
                  <a:pt x="95647" y="512300"/>
                </a:lnTo>
                <a:lnTo>
                  <a:pt x="95647" y="419274"/>
                </a:lnTo>
                <a:cubicBezTo>
                  <a:pt x="79924" y="407482"/>
                  <a:pt x="66822" y="390449"/>
                  <a:pt x="60270" y="370795"/>
                </a:cubicBezTo>
                <a:moveTo>
                  <a:pt x="86475" y="263356"/>
                </a:moveTo>
                <a:lnTo>
                  <a:pt x="86475" y="209637"/>
                </a:lnTo>
                <a:moveTo>
                  <a:pt x="150676" y="247633"/>
                </a:moveTo>
                <a:lnTo>
                  <a:pt x="150676" y="222739"/>
                </a:lnTo>
                <a:cubicBezTo>
                  <a:pt x="150676" y="214878"/>
                  <a:pt x="144125" y="208327"/>
                  <a:pt x="136264" y="208327"/>
                </a:cubicBezTo>
                <a:lnTo>
                  <a:pt x="136264" y="208327"/>
                </a:lnTo>
                <a:cubicBezTo>
                  <a:pt x="128402" y="208327"/>
                  <a:pt x="121851" y="214878"/>
                  <a:pt x="121851" y="222739"/>
                </a:cubicBezTo>
                <a:lnTo>
                  <a:pt x="121851" y="247633"/>
                </a:lnTo>
                <a:cubicBezTo>
                  <a:pt x="121851" y="255495"/>
                  <a:pt x="128402" y="262046"/>
                  <a:pt x="136264" y="262046"/>
                </a:cubicBezTo>
                <a:lnTo>
                  <a:pt x="136264" y="262046"/>
                </a:lnTo>
                <a:cubicBezTo>
                  <a:pt x="144125" y="263356"/>
                  <a:pt x="150676" y="256805"/>
                  <a:pt x="150676" y="247633"/>
                </a:cubicBezTo>
                <a:close/>
                <a:moveTo>
                  <a:pt x="186052" y="263356"/>
                </a:moveTo>
                <a:lnTo>
                  <a:pt x="186052" y="209637"/>
                </a:lnTo>
                <a:moveTo>
                  <a:pt x="200465" y="339350"/>
                </a:moveTo>
                <a:lnTo>
                  <a:pt x="200465" y="339350"/>
                </a:lnTo>
                <a:cubicBezTo>
                  <a:pt x="208326" y="339350"/>
                  <a:pt x="214877" y="332798"/>
                  <a:pt x="214877" y="324937"/>
                </a:cubicBezTo>
                <a:lnTo>
                  <a:pt x="214877" y="300043"/>
                </a:lnTo>
                <a:cubicBezTo>
                  <a:pt x="214877" y="292181"/>
                  <a:pt x="208326" y="285630"/>
                  <a:pt x="200465" y="285630"/>
                </a:cubicBezTo>
                <a:lnTo>
                  <a:pt x="200465" y="285630"/>
                </a:lnTo>
                <a:cubicBezTo>
                  <a:pt x="192603" y="285630"/>
                  <a:pt x="186052" y="292181"/>
                  <a:pt x="186052" y="300043"/>
                </a:cubicBezTo>
                <a:lnTo>
                  <a:pt x="186052" y="324937"/>
                </a:lnTo>
                <a:cubicBezTo>
                  <a:pt x="186052" y="332798"/>
                  <a:pt x="192603" y="339350"/>
                  <a:pt x="200465" y="339350"/>
                </a:cubicBezTo>
                <a:close/>
                <a:moveTo>
                  <a:pt x="121851" y="360313"/>
                </a:moveTo>
                <a:lnTo>
                  <a:pt x="121851" y="360313"/>
                </a:lnTo>
                <a:cubicBezTo>
                  <a:pt x="129713" y="360313"/>
                  <a:pt x="136264" y="353762"/>
                  <a:pt x="136264" y="345901"/>
                </a:cubicBezTo>
                <a:lnTo>
                  <a:pt x="136264" y="321006"/>
                </a:lnTo>
                <a:cubicBezTo>
                  <a:pt x="136264" y="313145"/>
                  <a:pt x="129713" y="306594"/>
                  <a:pt x="121851" y="306594"/>
                </a:cubicBezTo>
                <a:lnTo>
                  <a:pt x="121851" y="306594"/>
                </a:lnTo>
                <a:cubicBezTo>
                  <a:pt x="113990" y="306594"/>
                  <a:pt x="107439" y="313145"/>
                  <a:pt x="107439" y="321006"/>
                </a:cubicBezTo>
                <a:lnTo>
                  <a:pt x="107439" y="345901"/>
                </a:lnTo>
                <a:cubicBezTo>
                  <a:pt x="106128" y="353762"/>
                  <a:pt x="113990" y="360313"/>
                  <a:pt x="121851" y="360313"/>
                </a:cubicBezTo>
                <a:close/>
                <a:moveTo>
                  <a:pt x="57650" y="339350"/>
                </a:moveTo>
                <a:lnTo>
                  <a:pt x="57650" y="285630"/>
                </a:lnTo>
                <a:moveTo>
                  <a:pt x="144125" y="166399"/>
                </a:moveTo>
                <a:lnTo>
                  <a:pt x="144125" y="166399"/>
                </a:lnTo>
                <a:cubicBezTo>
                  <a:pt x="151986" y="166399"/>
                  <a:pt x="158538" y="159848"/>
                  <a:pt x="158538" y="151987"/>
                </a:cubicBezTo>
                <a:lnTo>
                  <a:pt x="158538" y="127092"/>
                </a:lnTo>
                <a:cubicBezTo>
                  <a:pt x="158538" y="119231"/>
                  <a:pt x="151986" y="112680"/>
                  <a:pt x="144125" y="112680"/>
                </a:cubicBezTo>
                <a:lnTo>
                  <a:pt x="144125" y="112680"/>
                </a:lnTo>
                <a:cubicBezTo>
                  <a:pt x="136264" y="112680"/>
                  <a:pt x="129713" y="119231"/>
                  <a:pt x="129713" y="127092"/>
                </a:cubicBezTo>
                <a:lnTo>
                  <a:pt x="129713" y="150676"/>
                </a:lnTo>
                <a:cubicBezTo>
                  <a:pt x="129713" y="158538"/>
                  <a:pt x="136264" y="166399"/>
                  <a:pt x="144125" y="166399"/>
                </a:cubicBezTo>
                <a:close/>
                <a:moveTo>
                  <a:pt x="200465" y="93026"/>
                </a:moveTo>
                <a:lnTo>
                  <a:pt x="200465" y="93026"/>
                </a:lnTo>
                <a:cubicBezTo>
                  <a:pt x="208326" y="93026"/>
                  <a:pt x="214877" y="86475"/>
                  <a:pt x="214877" y="78614"/>
                </a:cubicBezTo>
                <a:lnTo>
                  <a:pt x="214877" y="53719"/>
                </a:lnTo>
                <a:cubicBezTo>
                  <a:pt x="214877" y="45858"/>
                  <a:pt x="208326" y="39307"/>
                  <a:pt x="200465" y="39307"/>
                </a:cubicBezTo>
                <a:lnTo>
                  <a:pt x="200465" y="39307"/>
                </a:lnTo>
                <a:cubicBezTo>
                  <a:pt x="192603" y="39307"/>
                  <a:pt x="186052" y="45858"/>
                  <a:pt x="186052" y="53719"/>
                </a:cubicBezTo>
                <a:lnTo>
                  <a:pt x="186052" y="78614"/>
                </a:lnTo>
                <a:cubicBezTo>
                  <a:pt x="186052" y="86475"/>
                  <a:pt x="192603" y="93026"/>
                  <a:pt x="200465" y="93026"/>
                </a:cubicBezTo>
                <a:close/>
                <a:moveTo>
                  <a:pt x="436306" y="166399"/>
                </a:moveTo>
                <a:lnTo>
                  <a:pt x="436306" y="166399"/>
                </a:lnTo>
                <a:cubicBezTo>
                  <a:pt x="444167" y="166399"/>
                  <a:pt x="450718" y="159848"/>
                  <a:pt x="450718" y="151987"/>
                </a:cubicBezTo>
                <a:lnTo>
                  <a:pt x="450718" y="127092"/>
                </a:lnTo>
                <a:cubicBezTo>
                  <a:pt x="450718" y="119231"/>
                  <a:pt x="444167" y="112680"/>
                  <a:pt x="436306" y="112680"/>
                </a:cubicBezTo>
                <a:lnTo>
                  <a:pt x="436306" y="112680"/>
                </a:lnTo>
                <a:cubicBezTo>
                  <a:pt x="428444" y="112680"/>
                  <a:pt x="421893" y="119231"/>
                  <a:pt x="421893" y="127092"/>
                </a:cubicBezTo>
                <a:lnTo>
                  <a:pt x="421893" y="150676"/>
                </a:lnTo>
                <a:cubicBezTo>
                  <a:pt x="421893" y="158538"/>
                  <a:pt x="428444" y="166399"/>
                  <a:pt x="436306" y="166399"/>
                </a:cubicBezTo>
                <a:close/>
                <a:moveTo>
                  <a:pt x="328867" y="53719"/>
                </a:moveTo>
                <a:lnTo>
                  <a:pt x="328867" y="53719"/>
                </a:lnTo>
                <a:cubicBezTo>
                  <a:pt x="336729" y="53719"/>
                  <a:pt x="343280" y="47168"/>
                  <a:pt x="343280" y="39307"/>
                </a:cubicBezTo>
                <a:lnTo>
                  <a:pt x="343280" y="14413"/>
                </a:lnTo>
                <a:cubicBezTo>
                  <a:pt x="343280" y="6551"/>
                  <a:pt x="336729" y="0"/>
                  <a:pt x="328867" y="0"/>
                </a:cubicBezTo>
                <a:lnTo>
                  <a:pt x="328867" y="0"/>
                </a:lnTo>
                <a:cubicBezTo>
                  <a:pt x="321006" y="0"/>
                  <a:pt x="314455" y="6551"/>
                  <a:pt x="314455" y="14413"/>
                </a:cubicBezTo>
                <a:lnTo>
                  <a:pt x="314455" y="39307"/>
                </a:lnTo>
                <a:cubicBezTo>
                  <a:pt x="314455" y="47168"/>
                  <a:pt x="321006" y="53719"/>
                  <a:pt x="328867" y="53719"/>
                </a:cubicBezTo>
                <a:close/>
                <a:moveTo>
                  <a:pt x="510989" y="158538"/>
                </a:moveTo>
                <a:lnTo>
                  <a:pt x="510989" y="158538"/>
                </a:lnTo>
                <a:cubicBezTo>
                  <a:pt x="518850" y="158538"/>
                  <a:pt x="525401" y="151987"/>
                  <a:pt x="525401" y="144125"/>
                </a:cubicBezTo>
                <a:lnTo>
                  <a:pt x="525401" y="119231"/>
                </a:lnTo>
                <a:cubicBezTo>
                  <a:pt x="525401" y="111370"/>
                  <a:pt x="518850" y="104818"/>
                  <a:pt x="510989" y="104818"/>
                </a:cubicBezTo>
                <a:lnTo>
                  <a:pt x="510989" y="104818"/>
                </a:lnTo>
                <a:cubicBezTo>
                  <a:pt x="503127" y="104818"/>
                  <a:pt x="496576" y="111370"/>
                  <a:pt x="496576" y="119231"/>
                </a:cubicBezTo>
                <a:lnTo>
                  <a:pt x="496576" y="144125"/>
                </a:lnTo>
                <a:cubicBezTo>
                  <a:pt x="496576" y="150676"/>
                  <a:pt x="503127" y="158538"/>
                  <a:pt x="510989" y="158538"/>
                </a:cubicBezTo>
                <a:close/>
                <a:moveTo>
                  <a:pt x="610566" y="89096"/>
                </a:moveTo>
                <a:lnTo>
                  <a:pt x="610566" y="89096"/>
                </a:lnTo>
                <a:cubicBezTo>
                  <a:pt x="618427" y="89096"/>
                  <a:pt x="624979" y="82544"/>
                  <a:pt x="624979" y="74683"/>
                </a:cubicBezTo>
                <a:lnTo>
                  <a:pt x="624979" y="49789"/>
                </a:lnTo>
                <a:cubicBezTo>
                  <a:pt x="624979" y="41927"/>
                  <a:pt x="618427" y="35376"/>
                  <a:pt x="610566" y="35376"/>
                </a:cubicBezTo>
                <a:lnTo>
                  <a:pt x="610566" y="35376"/>
                </a:lnTo>
                <a:cubicBezTo>
                  <a:pt x="602705" y="35376"/>
                  <a:pt x="596154" y="41927"/>
                  <a:pt x="596154" y="49789"/>
                </a:cubicBezTo>
                <a:lnTo>
                  <a:pt x="596154" y="74683"/>
                </a:lnTo>
                <a:cubicBezTo>
                  <a:pt x="596154" y="82544"/>
                  <a:pt x="602705" y="89096"/>
                  <a:pt x="610566" y="89096"/>
                </a:cubicBezTo>
                <a:close/>
                <a:moveTo>
                  <a:pt x="436306" y="53719"/>
                </a:moveTo>
                <a:lnTo>
                  <a:pt x="436306" y="53719"/>
                </a:lnTo>
                <a:cubicBezTo>
                  <a:pt x="444167" y="53719"/>
                  <a:pt x="450718" y="47168"/>
                  <a:pt x="450718" y="39307"/>
                </a:cubicBezTo>
                <a:lnTo>
                  <a:pt x="450718" y="14413"/>
                </a:lnTo>
                <a:cubicBezTo>
                  <a:pt x="450718" y="6551"/>
                  <a:pt x="444167" y="0"/>
                  <a:pt x="436306" y="0"/>
                </a:cubicBezTo>
                <a:lnTo>
                  <a:pt x="436306" y="0"/>
                </a:lnTo>
                <a:cubicBezTo>
                  <a:pt x="428444" y="0"/>
                  <a:pt x="421893" y="6551"/>
                  <a:pt x="421893" y="14413"/>
                </a:cubicBezTo>
                <a:lnTo>
                  <a:pt x="421893" y="39307"/>
                </a:lnTo>
                <a:cubicBezTo>
                  <a:pt x="421893" y="47168"/>
                  <a:pt x="428444" y="53719"/>
                  <a:pt x="436306" y="53719"/>
                </a:cubicBezTo>
                <a:close/>
                <a:moveTo>
                  <a:pt x="290871" y="138884"/>
                </a:moveTo>
                <a:lnTo>
                  <a:pt x="290871" y="138884"/>
                </a:lnTo>
                <a:cubicBezTo>
                  <a:pt x="298732" y="138884"/>
                  <a:pt x="305283" y="132333"/>
                  <a:pt x="305283" y="124472"/>
                </a:cubicBezTo>
                <a:lnTo>
                  <a:pt x="305283" y="99577"/>
                </a:lnTo>
                <a:cubicBezTo>
                  <a:pt x="305283" y="91716"/>
                  <a:pt x="298732" y="85165"/>
                  <a:pt x="290871" y="85165"/>
                </a:cubicBezTo>
                <a:lnTo>
                  <a:pt x="290871" y="85165"/>
                </a:lnTo>
                <a:cubicBezTo>
                  <a:pt x="283009" y="85165"/>
                  <a:pt x="276458" y="91716"/>
                  <a:pt x="276458" y="99577"/>
                </a:cubicBezTo>
                <a:lnTo>
                  <a:pt x="276458" y="124472"/>
                </a:lnTo>
                <a:cubicBezTo>
                  <a:pt x="275148" y="132333"/>
                  <a:pt x="281699" y="138884"/>
                  <a:pt x="290871" y="138884"/>
                </a:cubicBezTo>
                <a:close/>
                <a:moveTo>
                  <a:pt x="60270" y="180812"/>
                </a:moveTo>
                <a:lnTo>
                  <a:pt x="60270" y="127092"/>
                </a:lnTo>
                <a:moveTo>
                  <a:pt x="547675" y="89096"/>
                </a:moveTo>
                <a:lnTo>
                  <a:pt x="547675" y="35376"/>
                </a:lnTo>
                <a:moveTo>
                  <a:pt x="246323" y="81234"/>
                </a:moveTo>
                <a:lnTo>
                  <a:pt x="246323" y="27515"/>
                </a:lnTo>
                <a:moveTo>
                  <a:pt x="487405" y="66822"/>
                </a:moveTo>
                <a:lnTo>
                  <a:pt x="487405" y="13102"/>
                </a:lnTo>
                <a:moveTo>
                  <a:pt x="218808" y="134954"/>
                </a:moveTo>
                <a:lnTo>
                  <a:pt x="218808" y="188673"/>
                </a:lnTo>
                <a:moveTo>
                  <a:pt x="383897" y="53719"/>
                </a:moveTo>
                <a:lnTo>
                  <a:pt x="383897" y="107439"/>
                </a:lnTo>
                <a:moveTo>
                  <a:pt x="344590" y="116610"/>
                </a:moveTo>
                <a:lnTo>
                  <a:pt x="344590" y="170330"/>
                </a:lnTo>
                <a:moveTo>
                  <a:pt x="0" y="336729"/>
                </a:moveTo>
                <a:lnTo>
                  <a:pt x="0" y="283010"/>
                </a:lnTo>
                <a:moveTo>
                  <a:pt x="745520" y="372105"/>
                </a:moveTo>
                <a:cubicBezTo>
                  <a:pt x="737658" y="391759"/>
                  <a:pt x="725866" y="407482"/>
                  <a:pt x="710143" y="420584"/>
                </a:cubicBezTo>
                <a:lnTo>
                  <a:pt x="710143" y="513610"/>
                </a:lnTo>
                <a:lnTo>
                  <a:pt x="594843" y="513610"/>
                </a:lnTo>
                <a:lnTo>
                  <a:pt x="594843" y="469062"/>
                </a:lnTo>
                <a:lnTo>
                  <a:pt x="576500" y="469062"/>
                </a:lnTo>
                <a:cubicBezTo>
                  <a:pt x="564708" y="469062"/>
                  <a:pt x="554226" y="463821"/>
                  <a:pt x="545055" y="455960"/>
                </a:cubicBezTo>
                <a:cubicBezTo>
                  <a:pt x="537193" y="448099"/>
                  <a:pt x="533263" y="436307"/>
                  <a:pt x="533263" y="424515"/>
                </a:cubicBezTo>
                <a:lnTo>
                  <a:pt x="533263" y="402241"/>
                </a:lnTo>
                <a:lnTo>
                  <a:pt x="517540" y="402241"/>
                </a:lnTo>
                <a:cubicBezTo>
                  <a:pt x="508368" y="400930"/>
                  <a:pt x="499197" y="390449"/>
                  <a:pt x="508368" y="377346"/>
                </a:cubicBezTo>
                <a:lnTo>
                  <a:pt x="508368" y="377346"/>
                </a:lnTo>
                <a:lnTo>
                  <a:pt x="508368" y="377346"/>
                </a:lnTo>
                <a:lnTo>
                  <a:pt x="508368" y="377346"/>
                </a:lnTo>
                <a:lnTo>
                  <a:pt x="533263" y="332798"/>
                </a:lnTo>
                <a:lnTo>
                  <a:pt x="533263" y="331488"/>
                </a:lnTo>
                <a:cubicBezTo>
                  <a:pt x="531952" y="306594"/>
                  <a:pt x="539814" y="283010"/>
                  <a:pt x="552916" y="263356"/>
                </a:cubicBezTo>
                <a:moveTo>
                  <a:pt x="719315" y="208327"/>
                </a:moveTo>
                <a:lnTo>
                  <a:pt x="719315" y="262046"/>
                </a:lnTo>
                <a:moveTo>
                  <a:pt x="683939" y="247633"/>
                </a:moveTo>
                <a:lnTo>
                  <a:pt x="683939" y="222739"/>
                </a:lnTo>
                <a:cubicBezTo>
                  <a:pt x="683939" y="214878"/>
                  <a:pt x="677388" y="208327"/>
                  <a:pt x="669526" y="208327"/>
                </a:cubicBezTo>
                <a:lnTo>
                  <a:pt x="669526" y="208327"/>
                </a:lnTo>
                <a:cubicBezTo>
                  <a:pt x="661665" y="208327"/>
                  <a:pt x="655114" y="214878"/>
                  <a:pt x="655114" y="222739"/>
                </a:cubicBezTo>
                <a:lnTo>
                  <a:pt x="655114" y="247633"/>
                </a:lnTo>
                <a:cubicBezTo>
                  <a:pt x="655114" y="255495"/>
                  <a:pt x="661665" y="262046"/>
                  <a:pt x="669526" y="262046"/>
                </a:cubicBezTo>
                <a:lnTo>
                  <a:pt x="669526" y="262046"/>
                </a:lnTo>
                <a:cubicBezTo>
                  <a:pt x="677388" y="263356"/>
                  <a:pt x="683939" y="256805"/>
                  <a:pt x="683939" y="247633"/>
                </a:cubicBezTo>
                <a:close/>
                <a:moveTo>
                  <a:pt x="619738" y="208327"/>
                </a:moveTo>
                <a:lnTo>
                  <a:pt x="619738" y="262046"/>
                </a:lnTo>
                <a:moveTo>
                  <a:pt x="605325" y="285630"/>
                </a:moveTo>
                <a:lnTo>
                  <a:pt x="605325" y="285630"/>
                </a:lnTo>
                <a:cubicBezTo>
                  <a:pt x="597464" y="285630"/>
                  <a:pt x="590913" y="292181"/>
                  <a:pt x="590913" y="300043"/>
                </a:cubicBezTo>
                <a:lnTo>
                  <a:pt x="590913" y="324937"/>
                </a:lnTo>
                <a:cubicBezTo>
                  <a:pt x="590913" y="332798"/>
                  <a:pt x="597464" y="339350"/>
                  <a:pt x="605325" y="339350"/>
                </a:cubicBezTo>
                <a:lnTo>
                  <a:pt x="605325" y="339350"/>
                </a:lnTo>
                <a:cubicBezTo>
                  <a:pt x="613187" y="339350"/>
                  <a:pt x="619738" y="332798"/>
                  <a:pt x="619738" y="324937"/>
                </a:cubicBezTo>
                <a:lnTo>
                  <a:pt x="619738" y="300043"/>
                </a:lnTo>
                <a:cubicBezTo>
                  <a:pt x="619738" y="292181"/>
                  <a:pt x="613187" y="285630"/>
                  <a:pt x="605325" y="285630"/>
                </a:cubicBezTo>
                <a:close/>
                <a:moveTo>
                  <a:pt x="683939" y="306594"/>
                </a:moveTo>
                <a:lnTo>
                  <a:pt x="683939" y="306594"/>
                </a:lnTo>
                <a:cubicBezTo>
                  <a:pt x="676077" y="306594"/>
                  <a:pt x="669526" y="313145"/>
                  <a:pt x="669526" y="321006"/>
                </a:cubicBezTo>
                <a:lnTo>
                  <a:pt x="669526" y="345901"/>
                </a:lnTo>
                <a:cubicBezTo>
                  <a:pt x="669526" y="353762"/>
                  <a:pt x="676077" y="360313"/>
                  <a:pt x="683939" y="360313"/>
                </a:cubicBezTo>
                <a:lnTo>
                  <a:pt x="683939" y="360313"/>
                </a:lnTo>
                <a:cubicBezTo>
                  <a:pt x="691800" y="360313"/>
                  <a:pt x="698351" y="353762"/>
                  <a:pt x="698351" y="345901"/>
                </a:cubicBezTo>
                <a:lnTo>
                  <a:pt x="698351" y="321006"/>
                </a:lnTo>
                <a:cubicBezTo>
                  <a:pt x="698351" y="313145"/>
                  <a:pt x="691800" y="306594"/>
                  <a:pt x="683939" y="306594"/>
                </a:cubicBezTo>
                <a:close/>
                <a:moveTo>
                  <a:pt x="748140" y="285630"/>
                </a:moveTo>
                <a:lnTo>
                  <a:pt x="748140" y="339350"/>
                </a:lnTo>
                <a:moveTo>
                  <a:pt x="661665" y="111370"/>
                </a:moveTo>
                <a:lnTo>
                  <a:pt x="661665" y="111370"/>
                </a:lnTo>
                <a:cubicBezTo>
                  <a:pt x="653804" y="111370"/>
                  <a:pt x="647252" y="117921"/>
                  <a:pt x="647252" y="125782"/>
                </a:cubicBezTo>
                <a:lnTo>
                  <a:pt x="647252" y="150676"/>
                </a:lnTo>
                <a:cubicBezTo>
                  <a:pt x="647252" y="158538"/>
                  <a:pt x="653804" y="165089"/>
                  <a:pt x="661665" y="165089"/>
                </a:cubicBezTo>
                <a:lnTo>
                  <a:pt x="661665" y="165089"/>
                </a:lnTo>
                <a:cubicBezTo>
                  <a:pt x="669526" y="165089"/>
                  <a:pt x="676077" y="158538"/>
                  <a:pt x="676077" y="150676"/>
                </a:cubicBezTo>
                <a:lnTo>
                  <a:pt x="676077" y="125782"/>
                </a:lnTo>
                <a:cubicBezTo>
                  <a:pt x="676077" y="117921"/>
                  <a:pt x="669526" y="111370"/>
                  <a:pt x="661665" y="111370"/>
                </a:cubicBezTo>
                <a:close/>
                <a:moveTo>
                  <a:pt x="745520" y="125782"/>
                </a:moveTo>
                <a:lnTo>
                  <a:pt x="745520" y="179502"/>
                </a:lnTo>
                <a:moveTo>
                  <a:pt x="586982" y="188673"/>
                </a:moveTo>
                <a:lnTo>
                  <a:pt x="586982" y="134954"/>
                </a:lnTo>
              </a:path>
            </a:pathLst>
          </a:custGeom>
          <a:noFill/>
          <a:ln w="15875" cap="flat">
            <a:solidFill>
              <a:srgbClr val="3C3C41"/>
            </a:solidFill>
            <a:prstDash val="solid"/>
            <a:miter/>
          </a:ln>
        </p:spPr>
        <p:txBody>
          <a:bodyPr rtlCol="0" anchor="ct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3C3C41"/>
              </a:solidFill>
              <a:effectLst/>
              <a:uLnTx/>
              <a:uFillTx/>
            </a:endParaRPr>
          </a:p>
        </p:txBody>
      </p:sp>
      <p:cxnSp>
        <p:nvCxnSpPr>
          <p:cNvPr id="90" name="Straight Arrow Connector 89">
            <a:extLst>
              <a:ext uri="{FF2B5EF4-FFF2-40B4-BE49-F238E27FC236}">
                <a16:creationId xmlns:a16="http://schemas.microsoft.com/office/drawing/2014/main" id="{50ABB699-40CE-4A9E-B693-A803CF94522A}"/>
              </a:ext>
            </a:extLst>
          </p:cNvPr>
          <p:cNvCxnSpPr/>
          <p:nvPr/>
        </p:nvCxnSpPr>
        <p:spPr>
          <a:xfrm>
            <a:off x="3667183" y="2553415"/>
            <a:ext cx="4857635" cy="0"/>
          </a:xfrm>
          <a:prstGeom prst="straightConnector1">
            <a:avLst/>
          </a:prstGeom>
          <a:noFill/>
          <a:ln w="12700" cap="flat" cmpd="sng" algn="ctr">
            <a:solidFill>
              <a:srgbClr val="3C3C41"/>
            </a:solidFill>
            <a:prstDash val="solid"/>
            <a:headEnd type="none"/>
            <a:tailEnd type="triangle" w="lg" len="med"/>
          </a:ln>
          <a:effectLst/>
        </p:spPr>
      </p:cxnSp>
      <p:cxnSp>
        <p:nvCxnSpPr>
          <p:cNvPr id="91" name="Straight Arrow Connector 90">
            <a:extLst>
              <a:ext uri="{FF2B5EF4-FFF2-40B4-BE49-F238E27FC236}">
                <a16:creationId xmlns:a16="http://schemas.microsoft.com/office/drawing/2014/main" id="{C6132040-D65C-4514-9A41-39BDC37A80EE}"/>
              </a:ext>
            </a:extLst>
          </p:cNvPr>
          <p:cNvCxnSpPr/>
          <p:nvPr/>
        </p:nvCxnSpPr>
        <p:spPr>
          <a:xfrm>
            <a:off x="3667183" y="3726149"/>
            <a:ext cx="4857635" cy="0"/>
          </a:xfrm>
          <a:prstGeom prst="straightConnector1">
            <a:avLst/>
          </a:prstGeom>
          <a:noFill/>
          <a:ln w="12700" cap="flat" cmpd="sng" algn="ctr">
            <a:solidFill>
              <a:srgbClr val="3C3C41"/>
            </a:solidFill>
            <a:prstDash val="solid"/>
            <a:headEnd type="none"/>
            <a:tailEnd type="triangle" w="lg" len="med"/>
          </a:ln>
          <a:effectLst/>
        </p:spPr>
      </p:cxnSp>
      <p:cxnSp>
        <p:nvCxnSpPr>
          <p:cNvPr id="92" name="Straight Arrow Connector 91">
            <a:extLst>
              <a:ext uri="{FF2B5EF4-FFF2-40B4-BE49-F238E27FC236}">
                <a16:creationId xmlns:a16="http://schemas.microsoft.com/office/drawing/2014/main" id="{8A6597DB-5100-4BDF-AA11-AD6A552F044A}"/>
              </a:ext>
            </a:extLst>
          </p:cNvPr>
          <p:cNvCxnSpPr/>
          <p:nvPr/>
        </p:nvCxnSpPr>
        <p:spPr>
          <a:xfrm>
            <a:off x="3667183" y="4898884"/>
            <a:ext cx="4857635" cy="0"/>
          </a:xfrm>
          <a:prstGeom prst="straightConnector1">
            <a:avLst/>
          </a:prstGeom>
          <a:noFill/>
          <a:ln w="12700" cap="flat" cmpd="sng" algn="ctr">
            <a:solidFill>
              <a:srgbClr val="3C3C41"/>
            </a:solidFill>
            <a:prstDash val="solid"/>
            <a:headEnd type="none"/>
            <a:tailEnd type="triangle" w="lg" len="med"/>
          </a:ln>
          <a:effectLst/>
        </p:spPr>
      </p:cxnSp>
      <p:cxnSp>
        <p:nvCxnSpPr>
          <p:cNvPr id="93" name="Straight Arrow Connector 92">
            <a:extLst>
              <a:ext uri="{FF2B5EF4-FFF2-40B4-BE49-F238E27FC236}">
                <a16:creationId xmlns:a16="http://schemas.microsoft.com/office/drawing/2014/main" id="{8833604C-E896-43E6-8868-44037F4EDDB6}"/>
              </a:ext>
            </a:extLst>
          </p:cNvPr>
          <p:cNvCxnSpPr/>
          <p:nvPr/>
        </p:nvCxnSpPr>
        <p:spPr>
          <a:xfrm>
            <a:off x="3667183" y="6071617"/>
            <a:ext cx="4857635" cy="0"/>
          </a:xfrm>
          <a:prstGeom prst="straightConnector1">
            <a:avLst/>
          </a:prstGeom>
          <a:noFill/>
          <a:ln w="12700" cap="flat" cmpd="sng" algn="ctr">
            <a:solidFill>
              <a:srgbClr val="3C3C41"/>
            </a:solidFill>
            <a:prstDash val="solid"/>
            <a:headEnd type="none"/>
            <a:tailEnd type="triangle" w="lg" len="med"/>
          </a:ln>
          <a:effectLst/>
        </p:spPr>
      </p:cxnSp>
      <p:sp>
        <p:nvSpPr>
          <p:cNvPr id="94" name="TextBox 93">
            <a:extLst>
              <a:ext uri="{FF2B5EF4-FFF2-40B4-BE49-F238E27FC236}">
                <a16:creationId xmlns:a16="http://schemas.microsoft.com/office/drawing/2014/main" id="{2805576E-C99A-4EDC-A7D6-8B5040E27432}"/>
              </a:ext>
            </a:extLst>
          </p:cNvPr>
          <p:cNvSpPr txBox="1"/>
          <p:nvPr/>
        </p:nvSpPr>
        <p:spPr>
          <a:xfrm>
            <a:off x="3629089" y="1976208"/>
            <a:ext cx="4933822" cy="510837"/>
          </a:xfrm>
          <a:prstGeom prst="rect">
            <a:avLst/>
          </a:prstGeom>
          <a:noFill/>
        </p:spPr>
        <p:txBody>
          <a:bodyPr wrap="square" lIns="91427" tIns="45713" rIns="91427" bIns="45713" rtlCol="0" anchor="ctr">
            <a:no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3C3C41"/>
                </a:solidFill>
                <a:effectLst/>
                <a:uLnTx/>
                <a:uFillTx/>
              </a:rPr>
              <a:t>Shadow IT becomes Citizen IT</a:t>
            </a:r>
          </a:p>
        </p:txBody>
      </p:sp>
      <p:sp>
        <p:nvSpPr>
          <p:cNvPr id="95" name="TextBox 94">
            <a:extLst>
              <a:ext uri="{FF2B5EF4-FFF2-40B4-BE49-F238E27FC236}">
                <a16:creationId xmlns:a16="http://schemas.microsoft.com/office/drawing/2014/main" id="{A745E182-CAE3-4A6E-BF24-C2D7255F65B0}"/>
              </a:ext>
            </a:extLst>
          </p:cNvPr>
          <p:cNvSpPr txBox="1"/>
          <p:nvPr/>
        </p:nvSpPr>
        <p:spPr>
          <a:xfrm>
            <a:off x="3629089" y="3153040"/>
            <a:ext cx="4933822" cy="510837"/>
          </a:xfrm>
          <a:prstGeom prst="rect">
            <a:avLst/>
          </a:prstGeom>
          <a:noFill/>
        </p:spPr>
        <p:txBody>
          <a:bodyPr wrap="square" lIns="91427" tIns="45713" rIns="91427" bIns="45713" rtlCol="0" anchor="ctr">
            <a:no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3C3C41"/>
                </a:solidFill>
                <a:effectLst/>
                <a:uLnTx/>
                <a:uFillTx/>
              </a:rPr>
              <a:t>Securing your perimeter means securing your people</a:t>
            </a:r>
          </a:p>
        </p:txBody>
      </p:sp>
      <p:sp>
        <p:nvSpPr>
          <p:cNvPr id="96" name="TextBox 95">
            <a:extLst>
              <a:ext uri="{FF2B5EF4-FFF2-40B4-BE49-F238E27FC236}">
                <a16:creationId xmlns:a16="http://schemas.microsoft.com/office/drawing/2014/main" id="{5BC63F31-C753-42FA-AB6A-D8F278E9E0FD}"/>
              </a:ext>
            </a:extLst>
          </p:cNvPr>
          <p:cNvSpPr txBox="1"/>
          <p:nvPr/>
        </p:nvSpPr>
        <p:spPr>
          <a:xfrm>
            <a:off x="3629089" y="4333473"/>
            <a:ext cx="4933822" cy="510837"/>
          </a:xfrm>
          <a:prstGeom prst="rect">
            <a:avLst/>
          </a:prstGeom>
          <a:noFill/>
        </p:spPr>
        <p:txBody>
          <a:bodyPr wrap="square" lIns="91427" tIns="45713" rIns="91427" bIns="45713" rtlCol="0" anchor="ctr">
            <a:no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3C3C41"/>
                </a:solidFill>
                <a:effectLst/>
                <a:uLnTx/>
                <a:uFillTx/>
              </a:rPr>
              <a:t>More Data Sharing Requires Stronger DLP</a:t>
            </a:r>
          </a:p>
        </p:txBody>
      </p:sp>
      <p:sp>
        <p:nvSpPr>
          <p:cNvPr id="97" name="TextBox 96">
            <a:extLst>
              <a:ext uri="{FF2B5EF4-FFF2-40B4-BE49-F238E27FC236}">
                <a16:creationId xmlns:a16="http://schemas.microsoft.com/office/drawing/2014/main" id="{F2E263E6-200E-4720-B72F-56BE34C2A401}"/>
              </a:ext>
            </a:extLst>
          </p:cNvPr>
          <p:cNvSpPr txBox="1"/>
          <p:nvPr/>
        </p:nvSpPr>
        <p:spPr>
          <a:xfrm>
            <a:off x="3629089" y="5496277"/>
            <a:ext cx="4933822" cy="510837"/>
          </a:xfrm>
          <a:prstGeom prst="rect">
            <a:avLst/>
          </a:prstGeom>
          <a:noFill/>
        </p:spPr>
        <p:txBody>
          <a:bodyPr wrap="square" lIns="91427" tIns="45713" rIns="91427" bIns="45713" rtlCol="0" anchor="ctr">
            <a:no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3C3C41"/>
                </a:solidFill>
                <a:effectLst/>
                <a:uLnTx/>
                <a:uFillTx/>
              </a:rPr>
              <a:t>Better Visibility and custom configurations</a:t>
            </a:r>
          </a:p>
        </p:txBody>
      </p:sp>
      <p:sp>
        <p:nvSpPr>
          <p:cNvPr id="98" name="Hexagon 97">
            <a:extLst>
              <a:ext uri="{FF2B5EF4-FFF2-40B4-BE49-F238E27FC236}">
                <a16:creationId xmlns:a16="http://schemas.microsoft.com/office/drawing/2014/main" id="{F5A994C7-99A0-45B6-937F-66BD44998BA5}"/>
              </a:ext>
            </a:extLst>
          </p:cNvPr>
          <p:cNvSpPr/>
          <p:nvPr/>
        </p:nvSpPr>
        <p:spPr bwMode="auto">
          <a:xfrm>
            <a:off x="2357001" y="5157347"/>
            <a:ext cx="1060554" cy="914270"/>
          </a:xfrm>
          <a:prstGeom prst="hexagon">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Eye" title="Icon of an eyeball">
            <a:extLst>
              <a:ext uri="{FF2B5EF4-FFF2-40B4-BE49-F238E27FC236}">
                <a16:creationId xmlns:a16="http://schemas.microsoft.com/office/drawing/2014/main" id="{2203DC64-10C9-4694-B970-06BFACF49C73}"/>
              </a:ext>
            </a:extLst>
          </p:cNvPr>
          <p:cNvSpPr>
            <a:spLocks noChangeAspect="1" noEditPoints="1"/>
          </p:cNvSpPr>
          <p:nvPr/>
        </p:nvSpPr>
        <p:spPr bwMode="auto">
          <a:xfrm>
            <a:off x="2594959" y="5453088"/>
            <a:ext cx="584637" cy="322788"/>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3" name="Footer Placeholder 4">
            <a:extLst>
              <a:ext uri="{FF2B5EF4-FFF2-40B4-BE49-F238E27FC236}">
                <a16:creationId xmlns:a16="http://schemas.microsoft.com/office/drawing/2014/main" id="{AEA3EB36-448F-0E85-3AB8-C32A3594A28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972430632"/>
      </p:ext>
    </p:extLst>
  </p:cSld>
  <p:clrMapOvr>
    <a:masterClrMapping/>
  </p:clrMapOvr>
  <p:transition spd="slow"/>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75481" y="599436"/>
            <a:ext cx="11018520" cy="461665"/>
          </a:xfrm>
        </p:spPr>
        <p:txBody>
          <a:bodyPr/>
          <a:lstStyle/>
          <a:p>
            <a:r>
              <a:rPr lang="en-FI" dirty="0">
                <a:solidFill>
                  <a:srgbClr val="243A5E"/>
                </a:solidFill>
              </a:rPr>
              <a:t>LAB – CoE Starter Kit C</a:t>
            </a:r>
            <a:r>
              <a:rPr lang="en-GB" dirty="0">
                <a:solidFill>
                  <a:srgbClr val="243A5E"/>
                </a:solidFill>
              </a:rPr>
              <a:t>o</a:t>
            </a:r>
            <a:r>
              <a:rPr lang="en-FI" dirty="0">
                <a:solidFill>
                  <a:srgbClr val="243A5E"/>
                </a:solidFill>
              </a:rPr>
              <a:t>re and Audit Log solutions</a:t>
            </a:r>
            <a:endParaRPr lang="en-US" dirty="0">
              <a:solidFill>
                <a:srgbClr val="243A5E"/>
              </a:solidFill>
            </a:endParaRP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a:solidFill>
                  <a:srgbClr val="FFFFFF"/>
                </a:solidFill>
                <a:latin typeface="Segoe Semibold"/>
                <a:cs typeface="Segoe UI Semibold"/>
              </a:rPr>
              <a:t>Lab Description</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pPr marL="230188" indent="-230188" defTabSz="914192">
              <a:spcBef>
                <a:spcPts val="600"/>
              </a:spcBef>
              <a:spcAft>
                <a:spcPts val="600"/>
              </a:spcAft>
              <a:buFont typeface="Arial" panose="020B0604020202020204" pitchFamily="34" charset="0"/>
              <a:buChar char="•"/>
              <a:defRPr/>
            </a:pPr>
            <a:r>
              <a:rPr lang="en-US" sz="1600">
                <a:cs typeface="Segoe UI Semibold" panose="020B0702040204020203" pitchFamily="34" charset="0"/>
              </a:rPr>
              <a:t>Install</a:t>
            </a:r>
            <a:r>
              <a:rPr lang="en-FI" sz="1600">
                <a:cs typeface="Segoe UI Semibold" panose="020B0702040204020203" pitchFamily="34" charset="0"/>
              </a:rPr>
              <a:t> and configure</a:t>
            </a:r>
            <a:r>
              <a:rPr lang="en-US" sz="1600">
                <a:cs typeface="Segoe UI Semibold" panose="020B0702040204020203" pitchFamily="34" charset="0"/>
              </a:rPr>
              <a:t> </a:t>
            </a:r>
            <a:r>
              <a:rPr lang="en-US" sz="1600" err="1">
                <a:cs typeface="Segoe UI Semibold" panose="020B0702040204020203" pitchFamily="34" charset="0"/>
              </a:rPr>
              <a:t>CoE</a:t>
            </a:r>
            <a:r>
              <a:rPr lang="en-FI" sz="1600">
                <a:cs typeface="Segoe UI Semibold" panose="020B0702040204020203" pitchFamily="34" charset="0"/>
              </a:rPr>
              <a:t> Starter Kit </a:t>
            </a:r>
            <a:r>
              <a:rPr lang="en-US" sz="1600">
                <a:cs typeface="Segoe UI Semibold" panose="020B0702040204020203" pitchFamily="34" charset="0"/>
              </a:rPr>
              <a:t>Core solution</a:t>
            </a:r>
            <a:endParaRPr lang="en-FI" sz="1600">
              <a:cs typeface="Segoe UI Semibold" panose="020B0702040204020203" pitchFamily="34" charset="0"/>
            </a:endParaRPr>
          </a:p>
          <a:p>
            <a:pPr marL="230188" indent="-230188" defTabSz="914192">
              <a:spcBef>
                <a:spcPts val="600"/>
              </a:spcBef>
              <a:spcAft>
                <a:spcPts val="600"/>
              </a:spcAft>
              <a:buFont typeface="Arial" panose="020B0604020202020204" pitchFamily="34" charset="0"/>
              <a:buChar char="•"/>
              <a:defRPr/>
            </a:pPr>
            <a:r>
              <a:rPr lang="en-FI" sz="1600">
                <a:cs typeface="Segoe UI Semibold" panose="020B0702040204020203" pitchFamily="34" charset="0"/>
              </a:rPr>
              <a:t>Register </a:t>
            </a:r>
            <a:r>
              <a:rPr lang="en-US" sz="1600">
                <a:cs typeface="Segoe UI Semibold" panose="020B0702040204020203" pitchFamily="34" charset="0"/>
              </a:rPr>
              <a:t>Azure</a:t>
            </a:r>
            <a:r>
              <a:rPr lang="en-FI" sz="1600">
                <a:cs typeface="Segoe UI Semibold" panose="020B0702040204020203" pitchFamily="34" charset="0"/>
              </a:rPr>
              <a:t> </a:t>
            </a:r>
            <a:r>
              <a:rPr lang="en-US" sz="1600">
                <a:cs typeface="Segoe UI Semibold" panose="020B0702040204020203" pitchFamily="34" charset="0"/>
              </a:rPr>
              <a:t>AD </a:t>
            </a:r>
            <a:r>
              <a:rPr lang="en-FI" sz="1600">
                <a:cs typeface="Segoe UI Semibold" panose="020B0702040204020203" pitchFamily="34" charset="0"/>
              </a:rPr>
              <a:t>service principal and configure </a:t>
            </a:r>
            <a:r>
              <a:rPr lang="en-US" sz="1600">
                <a:cs typeface="Segoe UI Semibold" panose="020B0702040204020203" pitchFamily="34" charset="0"/>
              </a:rPr>
              <a:t>Office 365 Management API custom connector</a:t>
            </a:r>
            <a:endParaRPr lang="en-FI" sz="1600">
              <a:cs typeface="Segoe UI Semibold" panose="020B0702040204020203" pitchFamily="34" charset="0"/>
            </a:endParaRPr>
          </a:p>
          <a:p>
            <a:pPr marL="230188" indent="-230188" defTabSz="914192">
              <a:spcBef>
                <a:spcPts val="600"/>
              </a:spcBef>
              <a:spcAft>
                <a:spcPts val="600"/>
              </a:spcAft>
              <a:buFont typeface="Arial" panose="020B0604020202020204" pitchFamily="34" charset="0"/>
              <a:buChar char="•"/>
              <a:defRPr/>
            </a:pPr>
            <a:r>
              <a:rPr lang="en-FI" sz="1600">
                <a:cs typeface="Segoe UI Semibold" panose="020B0702040204020203" pitchFamily="34" charset="0"/>
              </a:rPr>
              <a:t>Install and configure </a:t>
            </a:r>
            <a:r>
              <a:rPr lang="en-FI" sz="1600" err="1">
                <a:cs typeface="Segoe UI Semibold" panose="020B0702040204020203" pitchFamily="34" charset="0"/>
              </a:rPr>
              <a:t>CoE</a:t>
            </a:r>
            <a:r>
              <a:rPr lang="en-FI" sz="1600">
                <a:cs typeface="Segoe UI Semibold" panose="020B0702040204020203" pitchFamily="34" charset="0"/>
              </a:rPr>
              <a:t> Starter Kit</a:t>
            </a:r>
            <a:r>
              <a:rPr lang="en-US" sz="1600">
                <a:cs typeface="Segoe UI Semibold" panose="020B0702040204020203" pitchFamily="34" charset="0"/>
              </a:rPr>
              <a:t> Audit Log </a:t>
            </a:r>
            <a:r>
              <a:rPr lang="en-FI" sz="1600">
                <a:cs typeface="Segoe UI Semibold" panose="020B0702040204020203" pitchFamily="34" charset="0"/>
              </a:rPr>
              <a:t>s</a:t>
            </a:r>
            <a:r>
              <a:rPr lang="en-US" sz="1600" err="1">
                <a:cs typeface="Segoe UI Semibold" panose="020B0702040204020203" pitchFamily="34" charset="0"/>
              </a:rPr>
              <a:t>olution</a:t>
            </a:r>
            <a:endParaRPr lang="en-US" sz="1600">
              <a:cs typeface="Segoe UI Semibold" panose="020B0702040204020203" pitchFamily="34" charset="0"/>
            </a:endParaRPr>
          </a:p>
        </p:txBody>
      </p:sp>
      <p:sp>
        <p:nvSpPr>
          <p:cNvPr id="17" name="Footer Placeholder 4">
            <a:extLst>
              <a:ext uri="{FF2B5EF4-FFF2-40B4-BE49-F238E27FC236}">
                <a16:creationId xmlns:a16="http://schemas.microsoft.com/office/drawing/2014/main" id="{E243B2FB-C5E3-4E84-87ED-FB0A2A1A0F8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7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977638465"/>
      </p:ext>
    </p:extLst>
  </p:cSld>
  <p:clrMapOvr>
    <a:masterClrMapping/>
  </p:clrMapOvr>
  <p:transition spd="slow"/>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75481" y="599436"/>
            <a:ext cx="11018520" cy="461665"/>
          </a:xfrm>
        </p:spPr>
        <p:txBody>
          <a:bodyPr/>
          <a:lstStyle/>
          <a:p>
            <a:r>
              <a:rPr lang="en-FI" dirty="0">
                <a:solidFill>
                  <a:srgbClr val="243A5E"/>
                </a:solidFill>
              </a:rPr>
              <a:t>LAB – CoE Starter Kit</a:t>
            </a:r>
            <a:r>
              <a:rPr lang="en-US" dirty="0">
                <a:solidFill>
                  <a:srgbClr val="243A5E"/>
                </a:solidFill>
              </a:rPr>
              <a:t> Power BI Dashboard</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a:solidFill>
                  <a:srgbClr val="FFFFFF"/>
                </a:solidFill>
                <a:latin typeface="Segoe Semibold"/>
                <a:cs typeface="Segoe UI Semibold"/>
              </a:rPr>
              <a:t>Lab Description</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pPr marL="230188" indent="-230188" defTabSz="914192">
              <a:spcBef>
                <a:spcPts val="600"/>
              </a:spcBef>
              <a:spcAft>
                <a:spcPts val="600"/>
              </a:spcAft>
              <a:buFont typeface="Arial" panose="020B0604020202020204" pitchFamily="34" charset="0"/>
              <a:buChar char="•"/>
              <a:defRPr/>
            </a:pPr>
            <a:r>
              <a:rPr lang="en-US" sz="1600">
                <a:cs typeface="Segoe UI Semibold" panose="020B0702040204020203" pitchFamily="34" charset="0"/>
              </a:rPr>
              <a:t>Configure Power BI Dashboard</a:t>
            </a:r>
            <a:endParaRPr lang="en-FI" sz="1600">
              <a:cs typeface="Segoe UI Semibold" panose="020B0702040204020203" pitchFamily="34" charset="0"/>
            </a:endParaRPr>
          </a:p>
          <a:p>
            <a:pPr marL="230188" indent="-230188" defTabSz="914192">
              <a:spcBef>
                <a:spcPts val="600"/>
              </a:spcBef>
              <a:spcAft>
                <a:spcPts val="600"/>
              </a:spcAft>
              <a:buFont typeface="Arial" panose="020B0604020202020204" pitchFamily="34" charset="0"/>
              <a:buChar char="•"/>
              <a:defRPr/>
            </a:pPr>
            <a:r>
              <a:rPr lang="en-US" sz="1600">
                <a:cs typeface="Segoe UI Semibold" panose="020B0702040204020203" pitchFamily="34" charset="0"/>
              </a:rPr>
              <a:t>Install and use embedded Apps for Power BI Dashboard</a:t>
            </a:r>
          </a:p>
        </p:txBody>
      </p:sp>
      <p:sp>
        <p:nvSpPr>
          <p:cNvPr id="17" name="Footer Placeholder 4">
            <a:extLst>
              <a:ext uri="{FF2B5EF4-FFF2-40B4-BE49-F238E27FC236}">
                <a16:creationId xmlns:a16="http://schemas.microsoft.com/office/drawing/2014/main" id="{E243B2FB-C5E3-4E84-87ED-FB0A2A1A0F8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7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94062714"/>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name="HIDDEN - Slide1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1094208049"/>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More Developers Require More Governance </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a:xfrm>
            <a:off x="655637" y="786383"/>
            <a:ext cx="11536363" cy="621731"/>
          </a:xfrm>
        </p:spPr>
        <p:txBody>
          <a:bodyPr>
            <a:normAutofit/>
          </a:bodyPr>
          <a:lstStyle/>
          <a:p>
            <a:pPr lvl="1"/>
            <a:r>
              <a:rPr lang="en-US"/>
              <a:t>Do any of these challenges sound familiar to you? </a:t>
            </a:r>
          </a:p>
        </p:txBody>
      </p:sp>
      <p:sp>
        <p:nvSpPr>
          <p:cNvPr id="4" name="TextBox 3">
            <a:extLst>
              <a:ext uri="{FF2B5EF4-FFF2-40B4-BE49-F238E27FC236}">
                <a16:creationId xmlns:a16="http://schemas.microsoft.com/office/drawing/2014/main" id="{8FD3B685-92E9-4340-8935-F68241C4B16D}"/>
              </a:ext>
            </a:extLst>
          </p:cNvPr>
          <p:cNvSpPr txBox="1"/>
          <p:nvPr/>
        </p:nvSpPr>
        <p:spPr>
          <a:xfrm>
            <a:off x="2995433" y="2708743"/>
            <a:ext cx="2975644" cy="878984"/>
          </a:xfrm>
          <a:prstGeom prst="rect">
            <a:avLst/>
          </a:prstGeom>
          <a:noFill/>
        </p:spPr>
        <p:txBody>
          <a:bodyPr wrap="square" lIns="0" tIns="0" rIns="0" bIns="0" rtlCol="0" anchor="ctr">
            <a:noAutofit/>
          </a:bodyPr>
          <a:lstStyle/>
          <a:p>
            <a:pPr defTabSz="914191">
              <a:spcAft>
                <a:spcPts val="587"/>
              </a:spcAft>
              <a:defRPr/>
            </a:pPr>
            <a:r>
              <a:rPr lang="en-US">
                <a:solidFill>
                  <a:srgbClr val="000000"/>
                </a:solidFill>
                <a:latin typeface="Segoe UI"/>
              </a:rPr>
              <a:t>Environment health regarding trial setup</a:t>
            </a:r>
          </a:p>
        </p:txBody>
      </p:sp>
      <p:sp>
        <p:nvSpPr>
          <p:cNvPr id="5" name="TextBox 4">
            <a:extLst>
              <a:ext uri="{FF2B5EF4-FFF2-40B4-BE49-F238E27FC236}">
                <a16:creationId xmlns:a16="http://schemas.microsoft.com/office/drawing/2014/main" id="{05FA16E6-E87D-44A9-AB28-9EDFC4AAE8C7}"/>
              </a:ext>
            </a:extLst>
          </p:cNvPr>
          <p:cNvSpPr txBox="1"/>
          <p:nvPr/>
        </p:nvSpPr>
        <p:spPr>
          <a:xfrm>
            <a:off x="2995432" y="3855875"/>
            <a:ext cx="2975644" cy="878984"/>
          </a:xfrm>
          <a:prstGeom prst="rect">
            <a:avLst/>
          </a:prstGeom>
          <a:noFill/>
        </p:spPr>
        <p:txBody>
          <a:bodyPr wrap="square" lIns="0" tIns="0" rIns="0" bIns="0" rtlCol="0" anchor="ctr">
            <a:noAutofit/>
          </a:bodyPr>
          <a:lstStyle/>
          <a:p>
            <a:pPr defTabSz="914191">
              <a:spcAft>
                <a:spcPts val="587"/>
              </a:spcAft>
              <a:defRPr/>
            </a:pPr>
            <a:r>
              <a:rPr lang="en-US">
                <a:solidFill>
                  <a:srgbClr val="000000"/>
                </a:solidFill>
                <a:latin typeface="Segoe UI"/>
              </a:rPr>
              <a:t>Maintenance challenges regarding app and flow distribution</a:t>
            </a:r>
          </a:p>
        </p:txBody>
      </p:sp>
      <p:sp>
        <p:nvSpPr>
          <p:cNvPr id="6" name="TextBox 5">
            <a:extLst>
              <a:ext uri="{FF2B5EF4-FFF2-40B4-BE49-F238E27FC236}">
                <a16:creationId xmlns:a16="http://schemas.microsoft.com/office/drawing/2014/main" id="{40584A7E-BC4F-49D4-B340-BD00A92E6D2E}"/>
              </a:ext>
            </a:extLst>
          </p:cNvPr>
          <p:cNvSpPr txBox="1"/>
          <p:nvPr/>
        </p:nvSpPr>
        <p:spPr>
          <a:xfrm>
            <a:off x="2995432" y="1561613"/>
            <a:ext cx="2975644" cy="878984"/>
          </a:xfrm>
          <a:prstGeom prst="rect">
            <a:avLst/>
          </a:prstGeom>
          <a:noFill/>
        </p:spPr>
        <p:txBody>
          <a:bodyPr wrap="square" lIns="0" tIns="0" rIns="0" bIns="0" rtlCol="0" anchor="ctr">
            <a:noAutofit/>
          </a:bodyPr>
          <a:lstStyle/>
          <a:p>
            <a:pPr defTabSz="914191">
              <a:spcAft>
                <a:spcPts val="587"/>
              </a:spcAft>
              <a:defRPr/>
            </a:pPr>
            <a:r>
              <a:rPr lang="en-US">
                <a:solidFill>
                  <a:srgbClr val="000000"/>
                </a:solidFill>
                <a:latin typeface="Segoe UI"/>
              </a:rPr>
              <a:t>Business data security </a:t>
            </a:r>
            <a:br>
              <a:rPr lang="en-US">
                <a:solidFill>
                  <a:srgbClr val="000000"/>
                </a:solidFill>
                <a:latin typeface="Segoe UI"/>
              </a:rPr>
            </a:br>
            <a:r>
              <a:rPr lang="en-US">
                <a:solidFill>
                  <a:srgbClr val="000000"/>
                </a:solidFill>
                <a:latin typeface="Segoe UI"/>
              </a:rPr>
              <a:t>concerns regarding connectors</a:t>
            </a:r>
          </a:p>
        </p:txBody>
      </p:sp>
      <p:cxnSp>
        <p:nvCxnSpPr>
          <p:cNvPr id="7" name="Straight Connector 6">
            <a:extLst>
              <a:ext uri="{FF2B5EF4-FFF2-40B4-BE49-F238E27FC236}">
                <a16:creationId xmlns:a16="http://schemas.microsoft.com/office/drawing/2014/main" id="{9C5375BB-785D-45EE-91B1-8F5DFDDF8D3D}"/>
              </a:ext>
            </a:extLst>
          </p:cNvPr>
          <p:cNvCxnSpPr/>
          <p:nvPr/>
        </p:nvCxnSpPr>
        <p:spPr>
          <a:xfrm>
            <a:off x="2995433" y="2574670"/>
            <a:ext cx="2975645"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 name="Straight Connector 7">
            <a:extLst>
              <a:ext uri="{FF2B5EF4-FFF2-40B4-BE49-F238E27FC236}">
                <a16:creationId xmlns:a16="http://schemas.microsoft.com/office/drawing/2014/main" id="{8505F5C1-E9F0-4404-9314-E9276E25C7BB}"/>
              </a:ext>
            </a:extLst>
          </p:cNvPr>
          <p:cNvCxnSpPr/>
          <p:nvPr/>
        </p:nvCxnSpPr>
        <p:spPr>
          <a:xfrm>
            <a:off x="2995433" y="3721800"/>
            <a:ext cx="2975645"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 name="TextBox 8">
            <a:extLst>
              <a:ext uri="{FF2B5EF4-FFF2-40B4-BE49-F238E27FC236}">
                <a16:creationId xmlns:a16="http://schemas.microsoft.com/office/drawing/2014/main" id="{B05337C1-A02B-46BD-A4FA-1D219346E7C9}"/>
              </a:ext>
            </a:extLst>
          </p:cNvPr>
          <p:cNvSpPr txBox="1"/>
          <p:nvPr/>
        </p:nvSpPr>
        <p:spPr>
          <a:xfrm>
            <a:off x="2995432" y="5003003"/>
            <a:ext cx="2975644" cy="878984"/>
          </a:xfrm>
          <a:prstGeom prst="rect">
            <a:avLst/>
          </a:prstGeom>
          <a:noFill/>
        </p:spPr>
        <p:txBody>
          <a:bodyPr wrap="square" lIns="0" tIns="0" rIns="0" bIns="0" rtlCol="0" anchor="ctr">
            <a:noAutofit/>
          </a:bodyPr>
          <a:lstStyle/>
          <a:p>
            <a:pPr defTabSz="914191">
              <a:spcAft>
                <a:spcPts val="587"/>
              </a:spcAft>
              <a:defRPr/>
            </a:pPr>
            <a:r>
              <a:rPr lang="en-US">
                <a:solidFill>
                  <a:srgbClr val="000000"/>
                </a:solidFill>
                <a:latin typeface="Segoe UI"/>
              </a:rPr>
              <a:t>Security risks regarding “shadow IT”</a:t>
            </a:r>
          </a:p>
        </p:txBody>
      </p:sp>
      <p:cxnSp>
        <p:nvCxnSpPr>
          <p:cNvPr id="10" name="Straight Connector 9">
            <a:extLst>
              <a:ext uri="{FF2B5EF4-FFF2-40B4-BE49-F238E27FC236}">
                <a16:creationId xmlns:a16="http://schemas.microsoft.com/office/drawing/2014/main" id="{05557FE0-9792-4CD4-9636-510DCB9A9126}"/>
              </a:ext>
            </a:extLst>
          </p:cNvPr>
          <p:cNvCxnSpPr/>
          <p:nvPr/>
        </p:nvCxnSpPr>
        <p:spPr>
          <a:xfrm>
            <a:off x="2995433" y="4868932"/>
            <a:ext cx="2975645"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 name="TextBox 10">
            <a:extLst>
              <a:ext uri="{FF2B5EF4-FFF2-40B4-BE49-F238E27FC236}">
                <a16:creationId xmlns:a16="http://schemas.microsoft.com/office/drawing/2014/main" id="{52630B60-AE12-4BB4-8DC7-D9D7FDC2F2AA}"/>
              </a:ext>
            </a:extLst>
          </p:cNvPr>
          <p:cNvSpPr txBox="1"/>
          <p:nvPr/>
        </p:nvSpPr>
        <p:spPr>
          <a:xfrm>
            <a:off x="7582022" y="2708742"/>
            <a:ext cx="2975644" cy="878984"/>
          </a:xfrm>
          <a:prstGeom prst="rect">
            <a:avLst/>
          </a:prstGeom>
          <a:noFill/>
        </p:spPr>
        <p:txBody>
          <a:bodyPr wrap="square" lIns="0" tIns="0" rIns="0" bIns="0" rtlCol="0" anchor="ctr">
            <a:noAutofit/>
          </a:bodyPr>
          <a:lstStyle/>
          <a:p>
            <a:pPr defTabSz="914191">
              <a:spcAft>
                <a:spcPts val="587"/>
              </a:spcAft>
              <a:defRPr/>
            </a:pPr>
            <a:r>
              <a:rPr lang="en-US">
                <a:solidFill>
                  <a:srgbClr val="000000"/>
                </a:solidFill>
                <a:latin typeface="Segoe UI"/>
              </a:rPr>
              <a:t>ALM support regarding</a:t>
            </a:r>
            <a:br>
              <a:rPr lang="en-US">
                <a:solidFill>
                  <a:srgbClr val="000000"/>
                </a:solidFill>
                <a:latin typeface="Segoe UI"/>
              </a:rPr>
            </a:br>
            <a:r>
              <a:rPr lang="en-US">
                <a:solidFill>
                  <a:srgbClr val="000000"/>
                </a:solidFill>
                <a:latin typeface="Segoe UI"/>
              </a:rPr>
              <a:t>apps being created/</a:t>
            </a:r>
            <a:br>
              <a:rPr lang="en-US">
                <a:solidFill>
                  <a:srgbClr val="000000"/>
                </a:solidFill>
                <a:latin typeface="Segoe UI"/>
              </a:rPr>
            </a:br>
            <a:r>
              <a:rPr lang="en-US">
                <a:solidFill>
                  <a:srgbClr val="000000"/>
                </a:solidFill>
                <a:latin typeface="Segoe UI"/>
              </a:rPr>
              <a:t>deployed</a:t>
            </a:r>
          </a:p>
        </p:txBody>
      </p:sp>
      <p:sp>
        <p:nvSpPr>
          <p:cNvPr id="13" name="TextBox 12">
            <a:extLst>
              <a:ext uri="{FF2B5EF4-FFF2-40B4-BE49-F238E27FC236}">
                <a16:creationId xmlns:a16="http://schemas.microsoft.com/office/drawing/2014/main" id="{3705632A-B4EF-4761-AFD6-81DF91067DBC}"/>
              </a:ext>
            </a:extLst>
          </p:cNvPr>
          <p:cNvSpPr txBox="1"/>
          <p:nvPr/>
        </p:nvSpPr>
        <p:spPr>
          <a:xfrm>
            <a:off x="7582021" y="3855872"/>
            <a:ext cx="2975644" cy="878984"/>
          </a:xfrm>
          <a:prstGeom prst="rect">
            <a:avLst/>
          </a:prstGeom>
          <a:noFill/>
        </p:spPr>
        <p:txBody>
          <a:bodyPr wrap="square" lIns="0" tIns="0" rIns="0" bIns="0" rtlCol="0" anchor="ctr">
            <a:noAutofit/>
          </a:bodyPr>
          <a:lstStyle/>
          <a:p>
            <a:pPr defTabSz="914191">
              <a:spcAft>
                <a:spcPts val="587"/>
              </a:spcAft>
              <a:defRPr/>
            </a:pPr>
            <a:r>
              <a:rPr lang="en-US">
                <a:solidFill>
                  <a:srgbClr val="000000"/>
                </a:solidFill>
                <a:latin typeface="Segoe UI"/>
              </a:rPr>
              <a:t>Staff turnover challenges</a:t>
            </a:r>
            <a:br>
              <a:rPr lang="en-US">
                <a:solidFill>
                  <a:srgbClr val="000000"/>
                </a:solidFill>
                <a:latin typeface="Segoe UI"/>
              </a:rPr>
            </a:br>
            <a:r>
              <a:rPr lang="en-US">
                <a:solidFill>
                  <a:srgbClr val="000000"/>
                </a:solidFill>
                <a:latin typeface="Segoe UI"/>
              </a:rPr>
              <a:t>regarding app or flow ownership</a:t>
            </a:r>
          </a:p>
        </p:txBody>
      </p:sp>
      <p:sp>
        <p:nvSpPr>
          <p:cNvPr id="14" name="TextBox 13">
            <a:extLst>
              <a:ext uri="{FF2B5EF4-FFF2-40B4-BE49-F238E27FC236}">
                <a16:creationId xmlns:a16="http://schemas.microsoft.com/office/drawing/2014/main" id="{3B41EFE5-535D-46C9-9E65-FEA6B7E0FB3F}"/>
              </a:ext>
            </a:extLst>
          </p:cNvPr>
          <p:cNvSpPr txBox="1"/>
          <p:nvPr/>
        </p:nvSpPr>
        <p:spPr>
          <a:xfrm>
            <a:off x="7582021" y="1561613"/>
            <a:ext cx="2975644" cy="878984"/>
          </a:xfrm>
          <a:prstGeom prst="rect">
            <a:avLst/>
          </a:prstGeom>
          <a:noFill/>
        </p:spPr>
        <p:txBody>
          <a:bodyPr wrap="square" lIns="0" tIns="0" rIns="0" bIns="0" rtlCol="0" anchor="ctr">
            <a:noAutofit/>
          </a:bodyPr>
          <a:lstStyle/>
          <a:p>
            <a:pPr defTabSz="914191">
              <a:spcAft>
                <a:spcPts val="587"/>
              </a:spcAft>
              <a:defRPr/>
            </a:pPr>
            <a:r>
              <a:rPr lang="en-US">
                <a:solidFill>
                  <a:srgbClr val="000000"/>
                </a:solidFill>
                <a:latin typeface="Segoe UI"/>
              </a:rPr>
              <a:t>Compliancy issues regarding GDPR</a:t>
            </a:r>
          </a:p>
        </p:txBody>
      </p:sp>
      <p:cxnSp>
        <p:nvCxnSpPr>
          <p:cNvPr id="15" name="Straight Connector 14">
            <a:extLst>
              <a:ext uri="{FF2B5EF4-FFF2-40B4-BE49-F238E27FC236}">
                <a16:creationId xmlns:a16="http://schemas.microsoft.com/office/drawing/2014/main" id="{F78D9483-80E9-4CA4-A5F2-C0B59088CD73}"/>
              </a:ext>
            </a:extLst>
          </p:cNvPr>
          <p:cNvCxnSpPr/>
          <p:nvPr/>
        </p:nvCxnSpPr>
        <p:spPr>
          <a:xfrm>
            <a:off x="7582023" y="2574669"/>
            <a:ext cx="2975645"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 name="Straight Connector 15">
            <a:extLst>
              <a:ext uri="{FF2B5EF4-FFF2-40B4-BE49-F238E27FC236}">
                <a16:creationId xmlns:a16="http://schemas.microsoft.com/office/drawing/2014/main" id="{9E5E7D9F-C540-478A-A675-72592B6DA046}"/>
              </a:ext>
            </a:extLst>
          </p:cNvPr>
          <p:cNvCxnSpPr/>
          <p:nvPr/>
        </p:nvCxnSpPr>
        <p:spPr>
          <a:xfrm>
            <a:off x="7582023" y="3721798"/>
            <a:ext cx="2975645"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7" name="TextBox 16">
            <a:extLst>
              <a:ext uri="{FF2B5EF4-FFF2-40B4-BE49-F238E27FC236}">
                <a16:creationId xmlns:a16="http://schemas.microsoft.com/office/drawing/2014/main" id="{3B6B5174-DA71-4889-A0F8-77C10C9DB471}"/>
              </a:ext>
            </a:extLst>
          </p:cNvPr>
          <p:cNvSpPr txBox="1"/>
          <p:nvPr/>
        </p:nvSpPr>
        <p:spPr>
          <a:xfrm>
            <a:off x="7582021" y="5003003"/>
            <a:ext cx="2975644" cy="878984"/>
          </a:xfrm>
          <a:prstGeom prst="rect">
            <a:avLst/>
          </a:prstGeom>
          <a:noFill/>
        </p:spPr>
        <p:txBody>
          <a:bodyPr wrap="square" lIns="0" tIns="0" rIns="0" bIns="0" rtlCol="0" anchor="ctr">
            <a:noAutofit/>
          </a:bodyPr>
          <a:lstStyle/>
          <a:p>
            <a:pPr defTabSz="914191">
              <a:spcAft>
                <a:spcPts val="587"/>
              </a:spcAft>
              <a:defRPr/>
            </a:pPr>
            <a:r>
              <a:rPr lang="en-US">
                <a:solidFill>
                  <a:srgbClr val="000000"/>
                </a:solidFill>
                <a:latin typeface="Segoe UI"/>
              </a:rPr>
              <a:t>Information risk management</a:t>
            </a:r>
          </a:p>
        </p:txBody>
      </p:sp>
      <p:cxnSp>
        <p:nvCxnSpPr>
          <p:cNvPr id="18" name="Straight Connector 17">
            <a:extLst>
              <a:ext uri="{FF2B5EF4-FFF2-40B4-BE49-F238E27FC236}">
                <a16:creationId xmlns:a16="http://schemas.microsoft.com/office/drawing/2014/main" id="{D0EC449C-785F-4CE3-911B-C24CE65D211A}"/>
              </a:ext>
            </a:extLst>
          </p:cNvPr>
          <p:cNvCxnSpPr/>
          <p:nvPr/>
        </p:nvCxnSpPr>
        <p:spPr>
          <a:xfrm>
            <a:off x="7582023" y="4868928"/>
            <a:ext cx="2975645"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9" name="Graphic 13">
            <a:extLst>
              <a:ext uri="{FF2B5EF4-FFF2-40B4-BE49-F238E27FC236}">
                <a16:creationId xmlns:a16="http://schemas.microsoft.com/office/drawing/2014/main" id="{DB0070CC-95FD-4511-8519-A9DF1691FA3D}"/>
              </a:ext>
            </a:extLst>
          </p:cNvPr>
          <p:cNvGrpSpPr/>
          <p:nvPr/>
        </p:nvGrpSpPr>
        <p:grpSpPr>
          <a:xfrm>
            <a:off x="2074162" y="1789479"/>
            <a:ext cx="619763" cy="423252"/>
            <a:chOff x="6022974" y="3363912"/>
            <a:chExt cx="390525" cy="266700"/>
          </a:xfrm>
        </p:grpSpPr>
        <p:sp>
          <p:nvSpPr>
            <p:cNvPr id="20" name="Freeform: Shape 19">
              <a:extLst>
                <a:ext uri="{FF2B5EF4-FFF2-40B4-BE49-F238E27FC236}">
                  <a16:creationId xmlns:a16="http://schemas.microsoft.com/office/drawing/2014/main" id="{9F365D87-7A62-4491-A030-DBA9E73B7381}"/>
                </a:ext>
              </a:extLst>
            </p:cNvPr>
            <p:cNvSpPr/>
            <p:nvPr/>
          </p:nvSpPr>
          <p:spPr>
            <a:xfrm>
              <a:off x="6025355" y="3366293"/>
              <a:ext cx="40958" cy="73247"/>
            </a:xfrm>
            <a:custGeom>
              <a:avLst/>
              <a:gdLst>
                <a:gd name="connsiteX0" fmla="*/ 20479 w 40958"/>
                <a:gd name="connsiteY0" fmla="*/ 73247 h 73247"/>
                <a:gd name="connsiteX1" fmla="*/ 20479 w 40958"/>
                <a:gd name="connsiteY1" fmla="*/ 73247 h 73247"/>
                <a:gd name="connsiteX2" fmla="*/ 0 w 40958"/>
                <a:gd name="connsiteY2" fmla="*/ 52769 h 73247"/>
                <a:gd name="connsiteX3" fmla="*/ 0 w 40958"/>
                <a:gd name="connsiteY3" fmla="*/ 20479 h 73247"/>
                <a:gd name="connsiteX4" fmla="*/ 20479 w 40958"/>
                <a:gd name="connsiteY4" fmla="*/ 0 h 73247"/>
                <a:gd name="connsiteX5" fmla="*/ 20479 w 40958"/>
                <a:gd name="connsiteY5" fmla="*/ 0 h 73247"/>
                <a:gd name="connsiteX6" fmla="*/ 40958 w 40958"/>
                <a:gd name="connsiteY6" fmla="*/ 20479 h 73247"/>
                <a:gd name="connsiteX7" fmla="*/ 40958 w 40958"/>
                <a:gd name="connsiteY7" fmla="*/ 52673 h 73247"/>
                <a:gd name="connsiteX8" fmla="*/ 20479 w 40958"/>
                <a:gd name="connsiteY8"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8" h="73247">
                  <a:moveTo>
                    <a:pt x="20479" y="73247"/>
                  </a:moveTo>
                  <a:lnTo>
                    <a:pt x="20479" y="73247"/>
                  </a:lnTo>
                  <a:cubicBezTo>
                    <a:pt x="9144" y="73247"/>
                    <a:pt x="0" y="64103"/>
                    <a:pt x="0" y="52769"/>
                  </a:cubicBezTo>
                  <a:lnTo>
                    <a:pt x="0" y="20479"/>
                  </a:lnTo>
                  <a:cubicBezTo>
                    <a:pt x="0" y="9144"/>
                    <a:pt x="9144" y="0"/>
                    <a:pt x="20479" y="0"/>
                  </a:cubicBezTo>
                  <a:lnTo>
                    <a:pt x="20479" y="0"/>
                  </a:lnTo>
                  <a:cubicBezTo>
                    <a:pt x="31814" y="0"/>
                    <a:pt x="40958" y="9144"/>
                    <a:pt x="40958" y="20479"/>
                  </a:cubicBezTo>
                  <a:lnTo>
                    <a:pt x="40958" y="52673"/>
                  </a:lnTo>
                  <a:cubicBezTo>
                    <a:pt x="41053" y="64008"/>
                    <a:pt x="31814" y="73247"/>
                    <a:pt x="20479" y="73247"/>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21" name="Freeform: Shape 20">
              <a:extLst>
                <a:ext uri="{FF2B5EF4-FFF2-40B4-BE49-F238E27FC236}">
                  <a16:creationId xmlns:a16="http://schemas.microsoft.com/office/drawing/2014/main" id="{ADC17CC9-B3C8-4775-AD1F-731186642FD9}"/>
                </a:ext>
              </a:extLst>
            </p:cNvPr>
            <p:cNvSpPr/>
            <p:nvPr/>
          </p:nvSpPr>
          <p:spPr>
            <a:xfrm>
              <a:off x="6140893" y="3366293"/>
              <a:ext cx="40290" cy="72961"/>
            </a:xfrm>
            <a:custGeom>
              <a:avLst/>
              <a:gdLst>
                <a:gd name="connsiteX0" fmla="*/ 40291 w 40290"/>
                <a:gd name="connsiteY0" fmla="*/ 15335 h 72961"/>
                <a:gd name="connsiteX1" fmla="*/ 20479 w 40290"/>
                <a:gd name="connsiteY1" fmla="*/ 0 h 72961"/>
                <a:gd name="connsiteX2" fmla="*/ 20479 w 40290"/>
                <a:gd name="connsiteY2" fmla="*/ 0 h 72961"/>
                <a:gd name="connsiteX3" fmla="*/ 0 w 40290"/>
                <a:gd name="connsiteY3" fmla="*/ 20479 h 72961"/>
                <a:gd name="connsiteX4" fmla="*/ 0 w 40290"/>
                <a:gd name="connsiteY4" fmla="*/ 52673 h 72961"/>
                <a:gd name="connsiteX5" fmla="*/ 17716 w 40290"/>
                <a:gd name="connsiteY5" fmla="*/ 72962 h 72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90" h="72961">
                  <a:moveTo>
                    <a:pt x="40291" y="15335"/>
                  </a:moveTo>
                  <a:cubicBezTo>
                    <a:pt x="38005" y="6477"/>
                    <a:pt x="30004" y="0"/>
                    <a:pt x="20479" y="0"/>
                  </a:cubicBezTo>
                  <a:lnTo>
                    <a:pt x="20479" y="0"/>
                  </a:lnTo>
                  <a:cubicBezTo>
                    <a:pt x="9144" y="0"/>
                    <a:pt x="0" y="9144"/>
                    <a:pt x="0" y="20479"/>
                  </a:cubicBezTo>
                  <a:lnTo>
                    <a:pt x="0" y="52673"/>
                  </a:lnTo>
                  <a:cubicBezTo>
                    <a:pt x="0" y="63056"/>
                    <a:pt x="7715" y="71628"/>
                    <a:pt x="17716" y="7296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22" name="Freeform: Shape 21">
              <a:extLst>
                <a:ext uri="{FF2B5EF4-FFF2-40B4-BE49-F238E27FC236}">
                  <a16:creationId xmlns:a16="http://schemas.microsoft.com/office/drawing/2014/main" id="{0EA2381D-882F-4975-90F8-8EDDCBCBBDD1}"/>
                </a:ext>
              </a:extLst>
            </p:cNvPr>
            <p:cNvSpPr/>
            <p:nvPr/>
          </p:nvSpPr>
          <p:spPr>
            <a:xfrm>
              <a:off x="6087648" y="3366864"/>
              <a:ext cx="17240" cy="70294"/>
            </a:xfrm>
            <a:custGeom>
              <a:avLst/>
              <a:gdLst>
                <a:gd name="connsiteX0" fmla="*/ 17240 w 17240"/>
                <a:gd name="connsiteY0" fmla="*/ 70295 h 70294"/>
                <a:gd name="connsiteX1" fmla="*/ 17240 w 17240"/>
                <a:gd name="connsiteY1" fmla="*/ 0 h 70294"/>
                <a:gd name="connsiteX2" fmla="*/ 0 w 17240"/>
                <a:gd name="connsiteY2" fmla="*/ 0 h 70294"/>
              </a:gdLst>
              <a:ahLst/>
              <a:cxnLst>
                <a:cxn ang="0">
                  <a:pos x="connsiteX0" y="connsiteY0"/>
                </a:cxn>
                <a:cxn ang="0">
                  <a:pos x="connsiteX1" y="connsiteY1"/>
                </a:cxn>
                <a:cxn ang="0">
                  <a:pos x="connsiteX2" y="connsiteY2"/>
                </a:cxn>
              </a:cxnLst>
              <a:rect l="l" t="t" r="r" b="b"/>
              <a:pathLst>
                <a:path w="17240" h="70294">
                  <a:moveTo>
                    <a:pt x="17240" y="70295"/>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23" name="Freeform: Shape 22">
              <a:extLst>
                <a:ext uri="{FF2B5EF4-FFF2-40B4-BE49-F238E27FC236}">
                  <a16:creationId xmlns:a16="http://schemas.microsoft.com/office/drawing/2014/main" id="{E2B6B2B5-436E-497C-B52B-092DEF308527}"/>
                </a:ext>
              </a:extLst>
            </p:cNvPr>
            <p:cNvSpPr/>
            <p:nvPr/>
          </p:nvSpPr>
          <p:spPr>
            <a:xfrm>
              <a:off x="6088125" y="3439540"/>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24" name="Freeform: Shape 23">
              <a:extLst>
                <a:ext uri="{FF2B5EF4-FFF2-40B4-BE49-F238E27FC236}">
                  <a16:creationId xmlns:a16="http://schemas.microsoft.com/office/drawing/2014/main" id="{A290B358-336A-4097-A0AB-EE29E515585F}"/>
                </a:ext>
              </a:extLst>
            </p:cNvPr>
            <p:cNvSpPr/>
            <p:nvPr/>
          </p:nvSpPr>
          <p:spPr>
            <a:xfrm>
              <a:off x="6260908" y="3366864"/>
              <a:ext cx="17240" cy="70294"/>
            </a:xfrm>
            <a:custGeom>
              <a:avLst/>
              <a:gdLst>
                <a:gd name="connsiteX0" fmla="*/ 17240 w 17240"/>
                <a:gd name="connsiteY0" fmla="*/ 70295 h 70294"/>
                <a:gd name="connsiteX1" fmla="*/ 17240 w 17240"/>
                <a:gd name="connsiteY1" fmla="*/ 0 h 70294"/>
                <a:gd name="connsiteX2" fmla="*/ 0 w 17240"/>
                <a:gd name="connsiteY2" fmla="*/ 0 h 70294"/>
              </a:gdLst>
              <a:ahLst/>
              <a:cxnLst>
                <a:cxn ang="0">
                  <a:pos x="connsiteX0" y="connsiteY0"/>
                </a:cxn>
                <a:cxn ang="0">
                  <a:pos x="connsiteX1" y="connsiteY1"/>
                </a:cxn>
                <a:cxn ang="0">
                  <a:pos x="connsiteX2" y="connsiteY2"/>
                </a:cxn>
              </a:cxnLst>
              <a:rect l="l" t="t" r="r" b="b"/>
              <a:pathLst>
                <a:path w="17240" h="70294">
                  <a:moveTo>
                    <a:pt x="17240" y="70295"/>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25" name="Freeform: Shape 24">
              <a:extLst>
                <a:ext uri="{FF2B5EF4-FFF2-40B4-BE49-F238E27FC236}">
                  <a16:creationId xmlns:a16="http://schemas.microsoft.com/office/drawing/2014/main" id="{DE528B76-C0C6-42B1-BAD3-6B9D5866157A}"/>
                </a:ext>
              </a:extLst>
            </p:cNvPr>
            <p:cNvSpPr/>
            <p:nvPr/>
          </p:nvSpPr>
          <p:spPr>
            <a:xfrm>
              <a:off x="6278148" y="3439540"/>
              <a:ext cx="16287" cy="9525"/>
            </a:xfrm>
            <a:custGeom>
              <a:avLst/>
              <a:gdLst>
                <a:gd name="connsiteX0" fmla="*/ 0 w 16287"/>
                <a:gd name="connsiteY0" fmla="*/ 0 h 9525"/>
                <a:gd name="connsiteX1" fmla="*/ 16288 w 16287"/>
                <a:gd name="connsiteY1" fmla="*/ 0 h 9525"/>
              </a:gdLst>
              <a:ahLst/>
              <a:cxnLst>
                <a:cxn ang="0">
                  <a:pos x="connsiteX0" y="connsiteY0"/>
                </a:cxn>
                <a:cxn ang="0">
                  <a:pos x="connsiteX1" y="connsiteY1"/>
                </a:cxn>
              </a:cxnLst>
              <a:rect l="l" t="t" r="r" b="b"/>
              <a:pathLst>
                <a:path w="16287" h="9525">
                  <a:moveTo>
                    <a:pt x="0" y="0"/>
                  </a:moveTo>
                  <a:lnTo>
                    <a:pt x="16288"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26" name="Freeform: Shape 25">
              <a:extLst>
                <a:ext uri="{FF2B5EF4-FFF2-40B4-BE49-F238E27FC236}">
                  <a16:creationId xmlns:a16="http://schemas.microsoft.com/office/drawing/2014/main" id="{7F70C2E1-ABA9-4CB1-A187-5C31EB412696}"/>
                </a:ext>
              </a:extLst>
            </p:cNvPr>
            <p:cNvSpPr/>
            <p:nvPr/>
          </p:nvSpPr>
          <p:spPr>
            <a:xfrm>
              <a:off x="6305199" y="3366293"/>
              <a:ext cx="40957" cy="73152"/>
            </a:xfrm>
            <a:custGeom>
              <a:avLst/>
              <a:gdLst>
                <a:gd name="connsiteX0" fmla="*/ 40958 w 40957"/>
                <a:gd name="connsiteY0" fmla="*/ 52673 h 73152"/>
                <a:gd name="connsiteX1" fmla="*/ 40958 w 40957"/>
                <a:gd name="connsiteY1" fmla="*/ 20479 h 73152"/>
                <a:gd name="connsiteX2" fmla="*/ 20479 w 40957"/>
                <a:gd name="connsiteY2" fmla="*/ 0 h 73152"/>
                <a:gd name="connsiteX3" fmla="*/ 20479 w 40957"/>
                <a:gd name="connsiteY3" fmla="*/ 0 h 73152"/>
                <a:gd name="connsiteX4" fmla="*/ 0 w 40957"/>
                <a:gd name="connsiteY4" fmla="*/ 20479 h 73152"/>
                <a:gd name="connsiteX5" fmla="*/ 0 w 40957"/>
                <a:gd name="connsiteY5" fmla="*/ 52673 h 73152"/>
                <a:gd name="connsiteX6" fmla="*/ 20479 w 40957"/>
                <a:gd name="connsiteY6" fmla="*/ 73152 h 73152"/>
                <a:gd name="connsiteX7" fmla="*/ 20479 w 40957"/>
                <a:gd name="connsiteY7" fmla="*/ 73152 h 73152"/>
                <a:gd name="connsiteX8" fmla="*/ 40958 w 40957"/>
                <a:gd name="connsiteY8" fmla="*/ 52673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 h="73152">
                  <a:moveTo>
                    <a:pt x="40958" y="52673"/>
                  </a:moveTo>
                  <a:lnTo>
                    <a:pt x="40958" y="20479"/>
                  </a:lnTo>
                  <a:cubicBezTo>
                    <a:pt x="40958" y="9144"/>
                    <a:pt x="31814" y="0"/>
                    <a:pt x="20479" y="0"/>
                  </a:cubicBezTo>
                  <a:lnTo>
                    <a:pt x="20479" y="0"/>
                  </a:lnTo>
                  <a:cubicBezTo>
                    <a:pt x="9144" y="0"/>
                    <a:pt x="0" y="9144"/>
                    <a:pt x="0" y="20479"/>
                  </a:cubicBezTo>
                  <a:lnTo>
                    <a:pt x="0" y="52673"/>
                  </a:lnTo>
                  <a:cubicBezTo>
                    <a:pt x="0" y="64008"/>
                    <a:pt x="9144" y="73152"/>
                    <a:pt x="20479" y="73152"/>
                  </a:cubicBezTo>
                  <a:lnTo>
                    <a:pt x="20479" y="73152"/>
                  </a:lnTo>
                  <a:cubicBezTo>
                    <a:pt x="31814" y="73247"/>
                    <a:pt x="40958" y="64008"/>
                    <a:pt x="40958" y="52673"/>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27" name="Freeform: Shape 26">
              <a:extLst>
                <a:ext uri="{FF2B5EF4-FFF2-40B4-BE49-F238E27FC236}">
                  <a16:creationId xmlns:a16="http://schemas.microsoft.com/office/drawing/2014/main" id="{4798DB8F-AC26-490A-AC4F-AC473C08DAD5}"/>
                </a:ext>
              </a:extLst>
            </p:cNvPr>
            <p:cNvSpPr/>
            <p:nvPr/>
          </p:nvSpPr>
          <p:spPr>
            <a:xfrm>
              <a:off x="6366255" y="3366864"/>
              <a:ext cx="17240" cy="70294"/>
            </a:xfrm>
            <a:custGeom>
              <a:avLst/>
              <a:gdLst>
                <a:gd name="connsiteX0" fmla="*/ 17240 w 17240"/>
                <a:gd name="connsiteY0" fmla="*/ 70295 h 70294"/>
                <a:gd name="connsiteX1" fmla="*/ 17240 w 17240"/>
                <a:gd name="connsiteY1" fmla="*/ 0 h 70294"/>
                <a:gd name="connsiteX2" fmla="*/ 0 w 17240"/>
                <a:gd name="connsiteY2" fmla="*/ 0 h 70294"/>
              </a:gdLst>
              <a:ahLst/>
              <a:cxnLst>
                <a:cxn ang="0">
                  <a:pos x="connsiteX0" y="connsiteY0"/>
                </a:cxn>
                <a:cxn ang="0">
                  <a:pos x="connsiteX1" y="connsiteY1"/>
                </a:cxn>
                <a:cxn ang="0">
                  <a:pos x="connsiteX2" y="connsiteY2"/>
                </a:cxn>
              </a:cxnLst>
              <a:rect l="l" t="t" r="r" b="b"/>
              <a:pathLst>
                <a:path w="17240" h="70294">
                  <a:moveTo>
                    <a:pt x="17240" y="70295"/>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28" name="Freeform: Shape 27">
              <a:extLst>
                <a:ext uri="{FF2B5EF4-FFF2-40B4-BE49-F238E27FC236}">
                  <a16:creationId xmlns:a16="http://schemas.microsoft.com/office/drawing/2014/main" id="{C760616E-C014-4F08-AD9C-1C3F97A4BC28}"/>
                </a:ext>
              </a:extLst>
            </p:cNvPr>
            <p:cNvSpPr/>
            <p:nvPr/>
          </p:nvSpPr>
          <p:spPr>
            <a:xfrm>
              <a:off x="6366731" y="3439540"/>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29" name="Freeform: Shape 28">
              <a:extLst>
                <a:ext uri="{FF2B5EF4-FFF2-40B4-BE49-F238E27FC236}">
                  <a16:creationId xmlns:a16="http://schemas.microsoft.com/office/drawing/2014/main" id="{77EC6B27-59F2-461A-98B1-704AC0992940}"/>
                </a:ext>
              </a:extLst>
            </p:cNvPr>
            <p:cNvSpPr/>
            <p:nvPr/>
          </p:nvSpPr>
          <p:spPr>
            <a:xfrm>
              <a:off x="6084600" y="3460400"/>
              <a:ext cx="40481" cy="73151"/>
            </a:xfrm>
            <a:custGeom>
              <a:avLst/>
              <a:gdLst>
                <a:gd name="connsiteX0" fmla="*/ 40481 w 40481"/>
                <a:gd name="connsiteY0" fmla="*/ 15716 h 73151"/>
                <a:gd name="connsiteX1" fmla="*/ 20479 w 40481"/>
                <a:gd name="connsiteY1" fmla="*/ 0 h 73151"/>
                <a:gd name="connsiteX2" fmla="*/ 20479 w 40481"/>
                <a:gd name="connsiteY2" fmla="*/ 0 h 73151"/>
                <a:gd name="connsiteX3" fmla="*/ 0 w 40481"/>
                <a:gd name="connsiteY3" fmla="*/ 20479 h 73151"/>
                <a:gd name="connsiteX4" fmla="*/ 0 w 40481"/>
                <a:gd name="connsiteY4" fmla="*/ 52673 h 73151"/>
                <a:gd name="connsiteX5" fmla="*/ 20479 w 40481"/>
                <a:gd name="connsiteY5" fmla="*/ 73152 h 73151"/>
                <a:gd name="connsiteX6" fmla="*/ 20479 w 40481"/>
                <a:gd name="connsiteY6" fmla="*/ 73152 h 73151"/>
                <a:gd name="connsiteX7" fmla="*/ 38005 w 40481"/>
                <a:gd name="connsiteY7" fmla="*/ 6334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73151">
                  <a:moveTo>
                    <a:pt x="40481" y="15716"/>
                  </a:moveTo>
                  <a:cubicBezTo>
                    <a:pt x="38291" y="6667"/>
                    <a:pt x="30194" y="0"/>
                    <a:pt x="20479" y="0"/>
                  </a:cubicBezTo>
                  <a:lnTo>
                    <a:pt x="20479" y="0"/>
                  </a:lnTo>
                  <a:cubicBezTo>
                    <a:pt x="9144" y="0"/>
                    <a:pt x="0" y="9144"/>
                    <a:pt x="0" y="20479"/>
                  </a:cubicBezTo>
                  <a:lnTo>
                    <a:pt x="0" y="52673"/>
                  </a:lnTo>
                  <a:cubicBezTo>
                    <a:pt x="0" y="64008"/>
                    <a:pt x="9144" y="73152"/>
                    <a:pt x="20479" y="73152"/>
                  </a:cubicBezTo>
                  <a:lnTo>
                    <a:pt x="20479" y="73152"/>
                  </a:lnTo>
                  <a:cubicBezTo>
                    <a:pt x="27908" y="73152"/>
                    <a:pt x="34385" y="69247"/>
                    <a:pt x="38005" y="6334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0" name="Freeform: Shape 29">
              <a:extLst>
                <a:ext uri="{FF2B5EF4-FFF2-40B4-BE49-F238E27FC236}">
                  <a16:creationId xmlns:a16="http://schemas.microsoft.com/office/drawing/2014/main" id="{FC6BDCD4-0647-4F75-8267-E64B58669565}"/>
                </a:ext>
              </a:extLst>
            </p:cNvPr>
            <p:cNvSpPr/>
            <p:nvPr/>
          </p:nvSpPr>
          <p:spPr>
            <a:xfrm>
              <a:off x="6032879" y="3460971"/>
              <a:ext cx="17240" cy="70199"/>
            </a:xfrm>
            <a:custGeom>
              <a:avLst/>
              <a:gdLst>
                <a:gd name="connsiteX0" fmla="*/ 17240 w 17240"/>
                <a:gd name="connsiteY0" fmla="*/ 70199 h 70199"/>
                <a:gd name="connsiteX1" fmla="*/ 17240 w 17240"/>
                <a:gd name="connsiteY1" fmla="*/ 0 h 70199"/>
                <a:gd name="connsiteX2" fmla="*/ 0 w 17240"/>
                <a:gd name="connsiteY2" fmla="*/ 0 h 70199"/>
              </a:gdLst>
              <a:ahLst/>
              <a:cxnLst>
                <a:cxn ang="0">
                  <a:pos x="connsiteX0" y="connsiteY0"/>
                </a:cxn>
                <a:cxn ang="0">
                  <a:pos x="connsiteX1" y="connsiteY1"/>
                </a:cxn>
                <a:cxn ang="0">
                  <a:pos x="connsiteX2" y="connsiteY2"/>
                </a:cxn>
              </a:cxnLst>
              <a:rect l="l" t="t" r="r" b="b"/>
              <a:pathLst>
                <a:path w="17240" h="70199">
                  <a:moveTo>
                    <a:pt x="17240" y="70199"/>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1" name="Freeform: Shape 30">
              <a:extLst>
                <a:ext uri="{FF2B5EF4-FFF2-40B4-BE49-F238E27FC236}">
                  <a16:creationId xmlns:a16="http://schemas.microsoft.com/office/drawing/2014/main" id="{C3434361-316C-4F73-AC3B-21A73AE1B99F}"/>
                </a:ext>
              </a:extLst>
            </p:cNvPr>
            <p:cNvSpPr/>
            <p:nvPr/>
          </p:nvSpPr>
          <p:spPr>
            <a:xfrm>
              <a:off x="6033356" y="3533552"/>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2" name="Freeform: Shape 31">
              <a:extLst>
                <a:ext uri="{FF2B5EF4-FFF2-40B4-BE49-F238E27FC236}">
                  <a16:creationId xmlns:a16="http://schemas.microsoft.com/office/drawing/2014/main" id="{264265DA-3354-4AF1-B79A-7D790CB1BB3C}"/>
                </a:ext>
              </a:extLst>
            </p:cNvPr>
            <p:cNvSpPr/>
            <p:nvPr/>
          </p:nvSpPr>
          <p:spPr>
            <a:xfrm>
              <a:off x="6311295" y="3460400"/>
              <a:ext cx="39338" cy="73151"/>
            </a:xfrm>
            <a:custGeom>
              <a:avLst/>
              <a:gdLst>
                <a:gd name="connsiteX0" fmla="*/ 3619 w 39338"/>
                <a:gd name="connsiteY0" fmla="*/ 66389 h 73151"/>
                <a:gd name="connsiteX1" fmla="*/ 18859 w 39338"/>
                <a:gd name="connsiteY1" fmla="*/ 73152 h 73151"/>
                <a:gd name="connsiteX2" fmla="*/ 18859 w 39338"/>
                <a:gd name="connsiteY2" fmla="*/ 73152 h 73151"/>
                <a:gd name="connsiteX3" fmla="*/ 39338 w 39338"/>
                <a:gd name="connsiteY3" fmla="*/ 52673 h 73151"/>
                <a:gd name="connsiteX4" fmla="*/ 39338 w 39338"/>
                <a:gd name="connsiteY4" fmla="*/ 20479 h 73151"/>
                <a:gd name="connsiteX5" fmla="*/ 18859 w 39338"/>
                <a:gd name="connsiteY5" fmla="*/ 0 h 73151"/>
                <a:gd name="connsiteX6" fmla="*/ 18859 w 39338"/>
                <a:gd name="connsiteY6" fmla="*/ 0 h 73151"/>
                <a:gd name="connsiteX7" fmla="*/ 0 w 39338"/>
                <a:gd name="connsiteY7" fmla="*/ 12573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38" h="73151">
                  <a:moveTo>
                    <a:pt x="3619" y="66389"/>
                  </a:moveTo>
                  <a:cubicBezTo>
                    <a:pt x="7334" y="70580"/>
                    <a:pt x="12859" y="73152"/>
                    <a:pt x="18859" y="73152"/>
                  </a:cubicBezTo>
                  <a:lnTo>
                    <a:pt x="18859" y="73152"/>
                  </a:lnTo>
                  <a:cubicBezTo>
                    <a:pt x="30194" y="73152"/>
                    <a:pt x="39338" y="64008"/>
                    <a:pt x="39338" y="52673"/>
                  </a:cubicBezTo>
                  <a:lnTo>
                    <a:pt x="39338" y="20479"/>
                  </a:lnTo>
                  <a:cubicBezTo>
                    <a:pt x="39338" y="9144"/>
                    <a:pt x="30194" y="0"/>
                    <a:pt x="18859" y="0"/>
                  </a:cubicBezTo>
                  <a:lnTo>
                    <a:pt x="18859" y="0"/>
                  </a:lnTo>
                  <a:cubicBezTo>
                    <a:pt x="10382" y="0"/>
                    <a:pt x="3048" y="5143"/>
                    <a:pt x="0" y="1257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3" name="Freeform: Shape 32">
              <a:extLst>
                <a:ext uri="{FF2B5EF4-FFF2-40B4-BE49-F238E27FC236}">
                  <a16:creationId xmlns:a16="http://schemas.microsoft.com/office/drawing/2014/main" id="{F9E4A851-6147-4860-B76B-DDB7298B18A8}"/>
                </a:ext>
              </a:extLst>
            </p:cNvPr>
            <p:cNvSpPr/>
            <p:nvPr/>
          </p:nvSpPr>
          <p:spPr>
            <a:xfrm>
              <a:off x="6376637" y="3460971"/>
              <a:ext cx="17240" cy="70199"/>
            </a:xfrm>
            <a:custGeom>
              <a:avLst/>
              <a:gdLst>
                <a:gd name="connsiteX0" fmla="*/ 17240 w 17240"/>
                <a:gd name="connsiteY0" fmla="*/ 70199 h 70199"/>
                <a:gd name="connsiteX1" fmla="*/ 17240 w 17240"/>
                <a:gd name="connsiteY1" fmla="*/ 0 h 70199"/>
                <a:gd name="connsiteX2" fmla="*/ 0 w 17240"/>
                <a:gd name="connsiteY2" fmla="*/ 0 h 70199"/>
              </a:gdLst>
              <a:ahLst/>
              <a:cxnLst>
                <a:cxn ang="0">
                  <a:pos x="connsiteX0" y="connsiteY0"/>
                </a:cxn>
                <a:cxn ang="0">
                  <a:pos x="connsiteX1" y="connsiteY1"/>
                </a:cxn>
                <a:cxn ang="0">
                  <a:pos x="connsiteX2" y="connsiteY2"/>
                </a:cxn>
              </a:cxnLst>
              <a:rect l="l" t="t" r="r" b="b"/>
              <a:pathLst>
                <a:path w="17240" h="70199">
                  <a:moveTo>
                    <a:pt x="17240" y="70199"/>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4" name="Freeform: Shape 33">
              <a:extLst>
                <a:ext uri="{FF2B5EF4-FFF2-40B4-BE49-F238E27FC236}">
                  <a16:creationId xmlns:a16="http://schemas.microsoft.com/office/drawing/2014/main" id="{1694174E-2F9F-4E89-BB89-696EBBCF71A0}"/>
                </a:ext>
              </a:extLst>
            </p:cNvPr>
            <p:cNvSpPr/>
            <p:nvPr/>
          </p:nvSpPr>
          <p:spPr>
            <a:xfrm>
              <a:off x="6377113" y="3533552"/>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5" name="Freeform: Shape 34">
              <a:extLst>
                <a:ext uri="{FF2B5EF4-FFF2-40B4-BE49-F238E27FC236}">
                  <a16:creationId xmlns:a16="http://schemas.microsoft.com/office/drawing/2014/main" id="{D50EF82D-2B07-4754-A16F-B5C7BEA87B3F}"/>
                </a:ext>
              </a:extLst>
            </p:cNvPr>
            <p:cNvSpPr/>
            <p:nvPr/>
          </p:nvSpPr>
          <p:spPr>
            <a:xfrm>
              <a:off x="6149561" y="3623563"/>
              <a:ext cx="31718" cy="7715"/>
            </a:xfrm>
            <a:custGeom>
              <a:avLst/>
              <a:gdLst>
                <a:gd name="connsiteX0" fmla="*/ 0 w 31718"/>
                <a:gd name="connsiteY0" fmla="*/ 0 h 7715"/>
                <a:gd name="connsiteX1" fmla="*/ 16002 w 31718"/>
                <a:gd name="connsiteY1" fmla="*/ 7715 h 7715"/>
                <a:gd name="connsiteX2" fmla="*/ 16002 w 31718"/>
                <a:gd name="connsiteY2" fmla="*/ 7715 h 7715"/>
                <a:gd name="connsiteX3" fmla="*/ 31718 w 31718"/>
                <a:gd name="connsiteY3" fmla="*/ 381 h 7715"/>
              </a:gdLst>
              <a:ahLst/>
              <a:cxnLst>
                <a:cxn ang="0">
                  <a:pos x="connsiteX0" y="connsiteY0"/>
                </a:cxn>
                <a:cxn ang="0">
                  <a:pos x="connsiteX1" y="connsiteY1"/>
                </a:cxn>
                <a:cxn ang="0">
                  <a:pos x="connsiteX2" y="connsiteY2"/>
                </a:cxn>
                <a:cxn ang="0">
                  <a:pos x="connsiteX3" y="connsiteY3"/>
                </a:cxn>
              </a:cxnLst>
              <a:rect l="l" t="t" r="r" b="b"/>
              <a:pathLst>
                <a:path w="31718" h="7715">
                  <a:moveTo>
                    <a:pt x="0" y="0"/>
                  </a:moveTo>
                  <a:cubicBezTo>
                    <a:pt x="3715" y="4667"/>
                    <a:pt x="9525" y="7715"/>
                    <a:pt x="16002" y="7715"/>
                  </a:cubicBezTo>
                  <a:lnTo>
                    <a:pt x="16002" y="7715"/>
                  </a:lnTo>
                  <a:cubicBezTo>
                    <a:pt x="22289" y="7715"/>
                    <a:pt x="27908" y="4858"/>
                    <a:pt x="31718" y="38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6" name="Freeform: Shape 35">
              <a:extLst>
                <a:ext uri="{FF2B5EF4-FFF2-40B4-BE49-F238E27FC236}">
                  <a16:creationId xmlns:a16="http://schemas.microsoft.com/office/drawing/2014/main" id="{FFA92482-55B5-48E9-B763-E094BEA45FCC}"/>
                </a:ext>
              </a:extLst>
            </p:cNvPr>
            <p:cNvSpPr/>
            <p:nvPr/>
          </p:nvSpPr>
          <p:spPr>
            <a:xfrm>
              <a:off x="6256717" y="3623563"/>
              <a:ext cx="31718" cy="7715"/>
            </a:xfrm>
            <a:custGeom>
              <a:avLst/>
              <a:gdLst>
                <a:gd name="connsiteX0" fmla="*/ 0 w 31718"/>
                <a:gd name="connsiteY0" fmla="*/ 0 h 7715"/>
                <a:gd name="connsiteX1" fmla="*/ 16002 w 31718"/>
                <a:gd name="connsiteY1" fmla="*/ 7715 h 7715"/>
                <a:gd name="connsiteX2" fmla="*/ 16002 w 31718"/>
                <a:gd name="connsiteY2" fmla="*/ 7715 h 7715"/>
                <a:gd name="connsiteX3" fmla="*/ 31718 w 31718"/>
                <a:gd name="connsiteY3" fmla="*/ 381 h 7715"/>
              </a:gdLst>
              <a:ahLst/>
              <a:cxnLst>
                <a:cxn ang="0">
                  <a:pos x="connsiteX0" y="connsiteY0"/>
                </a:cxn>
                <a:cxn ang="0">
                  <a:pos x="connsiteX1" y="connsiteY1"/>
                </a:cxn>
                <a:cxn ang="0">
                  <a:pos x="connsiteX2" y="connsiteY2"/>
                </a:cxn>
                <a:cxn ang="0">
                  <a:pos x="connsiteX3" y="connsiteY3"/>
                </a:cxn>
              </a:cxnLst>
              <a:rect l="l" t="t" r="r" b="b"/>
              <a:pathLst>
                <a:path w="31718" h="7715">
                  <a:moveTo>
                    <a:pt x="0" y="0"/>
                  </a:moveTo>
                  <a:cubicBezTo>
                    <a:pt x="3715" y="4667"/>
                    <a:pt x="9525" y="7715"/>
                    <a:pt x="16002" y="7715"/>
                  </a:cubicBezTo>
                  <a:lnTo>
                    <a:pt x="16002" y="7715"/>
                  </a:lnTo>
                  <a:cubicBezTo>
                    <a:pt x="22288" y="7715"/>
                    <a:pt x="27908" y="4858"/>
                    <a:pt x="31718" y="38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7" name="Freeform: Shape 36">
              <a:extLst>
                <a:ext uri="{FF2B5EF4-FFF2-40B4-BE49-F238E27FC236}">
                  <a16:creationId xmlns:a16="http://schemas.microsoft.com/office/drawing/2014/main" id="{F47DF0D0-90B4-4020-82DD-225EC5655EEE}"/>
                </a:ext>
              </a:extLst>
            </p:cNvPr>
            <p:cNvSpPr/>
            <p:nvPr/>
          </p:nvSpPr>
          <p:spPr>
            <a:xfrm>
              <a:off x="6032879" y="3558603"/>
              <a:ext cx="17240" cy="70199"/>
            </a:xfrm>
            <a:custGeom>
              <a:avLst/>
              <a:gdLst>
                <a:gd name="connsiteX0" fmla="*/ 17240 w 17240"/>
                <a:gd name="connsiteY0" fmla="*/ 70199 h 70199"/>
                <a:gd name="connsiteX1" fmla="*/ 17240 w 17240"/>
                <a:gd name="connsiteY1" fmla="*/ 0 h 70199"/>
                <a:gd name="connsiteX2" fmla="*/ 0 w 17240"/>
                <a:gd name="connsiteY2" fmla="*/ 0 h 70199"/>
              </a:gdLst>
              <a:ahLst/>
              <a:cxnLst>
                <a:cxn ang="0">
                  <a:pos x="connsiteX0" y="connsiteY0"/>
                </a:cxn>
                <a:cxn ang="0">
                  <a:pos x="connsiteX1" y="connsiteY1"/>
                </a:cxn>
                <a:cxn ang="0">
                  <a:pos x="connsiteX2" y="connsiteY2"/>
                </a:cxn>
              </a:cxnLst>
              <a:rect l="l" t="t" r="r" b="b"/>
              <a:pathLst>
                <a:path w="17240" h="70199">
                  <a:moveTo>
                    <a:pt x="17240" y="70199"/>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8" name="Freeform: Shape 37">
              <a:extLst>
                <a:ext uri="{FF2B5EF4-FFF2-40B4-BE49-F238E27FC236}">
                  <a16:creationId xmlns:a16="http://schemas.microsoft.com/office/drawing/2014/main" id="{1A14A572-D25A-451A-AEFD-2C71FEF4EFE1}"/>
                </a:ext>
              </a:extLst>
            </p:cNvPr>
            <p:cNvSpPr/>
            <p:nvPr/>
          </p:nvSpPr>
          <p:spPr>
            <a:xfrm>
              <a:off x="6033356" y="3631183"/>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39" name="Freeform: Shape 38">
              <a:extLst>
                <a:ext uri="{FF2B5EF4-FFF2-40B4-BE49-F238E27FC236}">
                  <a16:creationId xmlns:a16="http://schemas.microsoft.com/office/drawing/2014/main" id="{D952FE60-3DA0-4FF0-9890-10C3918C3DC3}"/>
                </a:ext>
              </a:extLst>
            </p:cNvPr>
            <p:cNvSpPr/>
            <p:nvPr/>
          </p:nvSpPr>
          <p:spPr>
            <a:xfrm>
              <a:off x="6223380" y="3622325"/>
              <a:ext cx="9525" cy="6476"/>
            </a:xfrm>
            <a:custGeom>
              <a:avLst/>
              <a:gdLst>
                <a:gd name="connsiteX0" fmla="*/ 0 w 9525"/>
                <a:gd name="connsiteY0" fmla="*/ 0 h 6476"/>
                <a:gd name="connsiteX1" fmla="*/ 0 w 9525"/>
                <a:gd name="connsiteY1" fmla="*/ 6477 h 6476"/>
              </a:gdLst>
              <a:ahLst/>
              <a:cxnLst>
                <a:cxn ang="0">
                  <a:pos x="connsiteX0" y="connsiteY0"/>
                </a:cxn>
                <a:cxn ang="0">
                  <a:pos x="connsiteX1" y="connsiteY1"/>
                </a:cxn>
              </a:cxnLst>
              <a:rect l="l" t="t" r="r" b="b"/>
              <a:pathLst>
                <a:path w="9525" h="6476">
                  <a:moveTo>
                    <a:pt x="0" y="0"/>
                  </a:moveTo>
                  <a:lnTo>
                    <a:pt x="0" y="647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40" name="Freeform: Shape 39">
              <a:extLst>
                <a:ext uri="{FF2B5EF4-FFF2-40B4-BE49-F238E27FC236}">
                  <a16:creationId xmlns:a16="http://schemas.microsoft.com/office/drawing/2014/main" id="{BAE27742-D72D-4358-B634-B760B2E2832C}"/>
                </a:ext>
              </a:extLst>
            </p:cNvPr>
            <p:cNvSpPr/>
            <p:nvPr/>
          </p:nvSpPr>
          <p:spPr>
            <a:xfrm>
              <a:off x="6206616" y="3631183"/>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41" name="Freeform: Shape 40">
              <a:extLst>
                <a:ext uri="{FF2B5EF4-FFF2-40B4-BE49-F238E27FC236}">
                  <a16:creationId xmlns:a16="http://schemas.microsoft.com/office/drawing/2014/main" id="{4D0915ED-9375-49D5-9744-AF61313F2E0B}"/>
                </a:ext>
              </a:extLst>
            </p:cNvPr>
            <p:cNvSpPr/>
            <p:nvPr/>
          </p:nvSpPr>
          <p:spPr>
            <a:xfrm>
              <a:off x="6086315" y="3558603"/>
              <a:ext cx="17240" cy="70199"/>
            </a:xfrm>
            <a:custGeom>
              <a:avLst/>
              <a:gdLst>
                <a:gd name="connsiteX0" fmla="*/ 17240 w 17240"/>
                <a:gd name="connsiteY0" fmla="*/ 70199 h 70199"/>
                <a:gd name="connsiteX1" fmla="*/ 17240 w 17240"/>
                <a:gd name="connsiteY1" fmla="*/ 0 h 70199"/>
                <a:gd name="connsiteX2" fmla="*/ 0 w 17240"/>
                <a:gd name="connsiteY2" fmla="*/ 0 h 70199"/>
              </a:gdLst>
              <a:ahLst/>
              <a:cxnLst>
                <a:cxn ang="0">
                  <a:pos x="connsiteX0" y="connsiteY0"/>
                </a:cxn>
                <a:cxn ang="0">
                  <a:pos x="connsiteX1" y="connsiteY1"/>
                </a:cxn>
                <a:cxn ang="0">
                  <a:pos x="connsiteX2" y="connsiteY2"/>
                </a:cxn>
              </a:cxnLst>
              <a:rect l="l" t="t" r="r" b="b"/>
              <a:pathLst>
                <a:path w="17240" h="70199">
                  <a:moveTo>
                    <a:pt x="17240" y="70199"/>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42" name="Freeform: Shape 41">
              <a:extLst>
                <a:ext uri="{FF2B5EF4-FFF2-40B4-BE49-F238E27FC236}">
                  <a16:creationId xmlns:a16="http://schemas.microsoft.com/office/drawing/2014/main" id="{1A295419-A0AF-45F6-B58F-84FED1246E6F}"/>
                </a:ext>
              </a:extLst>
            </p:cNvPr>
            <p:cNvSpPr/>
            <p:nvPr/>
          </p:nvSpPr>
          <p:spPr>
            <a:xfrm>
              <a:off x="6086791" y="3631183"/>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43" name="Freeform: Shape 42">
              <a:extLst>
                <a:ext uri="{FF2B5EF4-FFF2-40B4-BE49-F238E27FC236}">
                  <a16:creationId xmlns:a16="http://schemas.microsoft.com/office/drawing/2014/main" id="{B4A14E13-4CDD-4DBE-AC43-690FFFBC45CF}"/>
                </a:ext>
              </a:extLst>
            </p:cNvPr>
            <p:cNvSpPr/>
            <p:nvPr/>
          </p:nvSpPr>
          <p:spPr>
            <a:xfrm>
              <a:off x="6367969" y="3558031"/>
              <a:ext cx="40957" cy="73152"/>
            </a:xfrm>
            <a:custGeom>
              <a:avLst/>
              <a:gdLst>
                <a:gd name="connsiteX0" fmla="*/ 40957 w 40957"/>
                <a:gd name="connsiteY0" fmla="*/ 52673 h 73152"/>
                <a:gd name="connsiteX1" fmla="*/ 40957 w 40957"/>
                <a:gd name="connsiteY1" fmla="*/ 20479 h 73152"/>
                <a:gd name="connsiteX2" fmla="*/ 20479 w 40957"/>
                <a:gd name="connsiteY2" fmla="*/ 0 h 73152"/>
                <a:gd name="connsiteX3" fmla="*/ 20479 w 40957"/>
                <a:gd name="connsiteY3" fmla="*/ 0 h 73152"/>
                <a:gd name="connsiteX4" fmla="*/ 0 w 40957"/>
                <a:gd name="connsiteY4" fmla="*/ 20479 h 73152"/>
                <a:gd name="connsiteX5" fmla="*/ 0 w 40957"/>
                <a:gd name="connsiteY5" fmla="*/ 52673 h 73152"/>
                <a:gd name="connsiteX6" fmla="*/ 20479 w 40957"/>
                <a:gd name="connsiteY6" fmla="*/ 73152 h 73152"/>
                <a:gd name="connsiteX7" fmla="*/ 20479 w 40957"/>
                <a:gd name="connsiteY7" fmla="*/ 73152 h 73152"/>
                <a:gd name="connsiteX8" fmla="*/ 40957 w 40957"/>
                <a:gd name="connsiteY8" fmla="*/ 52673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 h="73152">
                  <a:moveTo>
                    <a:pt x="40957" y="52673"/>
                  </a:moveTo>
                  <a:lnTo>
                    <a:pt x="40957" y="20479"/>
                  </a:lnTo>
                  <a:cubicBezTo>
                    <a:pt x="40957" y="9144"/>
                    <a:pt x="31814" y="0"/>
                    <a:pt x="20479" y="0"/>
                  </a:cubicBezTo>
                  <a:lnTo>
                    <a:pt x="20479" y="0"/>
                  </a:lnTo>
                  <a:cubicBezTo>
                    <a:pt x="9144" y="0"/>
                    <a:pt x="0" y="9144"/>
                    <a:pt x="0" y="20479"/>
                  </a:cubicBezTo>
                  <a:lnTo>
                    <a:pt x="0" y="52673"/>
                  </a:lnTo>
                  <a:cubicBezTo>
                    <a:pt x="0" y="64008"/>
                    <a:pt x="9144" y="73152"/>
                    <a:pt x="20479" y="73152"/>
                  </a:cubicBezTo>
                  <a:lnTo>
                    <a:pt x="20479" y="73152"/>
                  </a:lnTo>
                  <a:cubicBezTo>
                    <a:pt x="31718" y="73152"/>
                    <a:pt x="40957" y="64008"/>
                    <a:pt x="40957" y="52673"/>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44" name="Freeform: Shape 43">
              <a:extLst>
                <a:ext uri="{FF2B5EF4-FFF2-40B4-BE49-F238E27FC236}">
                  <a16:creationId xmlns:a16="http://schemas.microsoft.com/office/drawing/2014/main" id="{D0BAC82B-3E6A-47C8-9805-F8F910B1530E}"/>
                </a:ext>
              </a:extLst>
            </p:cNvPr>
            <p:cNvSpPr/>
            <p:nvPr/>
          </p:nvSpPr>
          <p:spPr>
            <a:xfrm>
              <a:off x="6320058" y="3558603"/>
              <a:ext cx="11048" cy="70199"/>
            </a:xfrm>
            <a:custGeom>
              <a:avLst/>
              <a:gdLst>
                <a:gd name="connsiteX0" fmla="*/ 11049 w 11048"/>
                <a:gd name="connsiteY0" fmla="*/ 70199 h 70199"/>
                <a:gd name="connsiteX1" fmla="*/ 11049 w 11048"/>
                <a:gd name="connsiteY1" fmla="*/ 0 h 70199"/>
                <a:gd name="connsiteX2" fmla="*/ 0 w 11048"/>
                <a:gd name="connsiteY2" fmla="*/ 0 h 70199"/>
              </a:gdLst>
              <a:ahLst/>
              <a:cxnLst>
                <a:cxn ang="0">
                  <a:pos x="connsiteX0" y="connsiteY0"/>
                </a:cxn>
                <a:cxn ang="0">
                  <a:pos x="connsiteX1" y="connsiteY1"/>
                </a:cxn>
                <a:cxn ang="0">
                  <a:pos x="connsiteX2" y="connsiteY2"/>
                </a:cxn>
              </a:cxnLst>
              <a:rect l="l" t="t" r="r" b="b"/>
              <a:pathLst>
                <a:path w="11048" h="70199">
                  <a:moveTo>
                    <a:pt x="11049" y="70199"/>
                  </a:moveTo>
                  <a:lnTo>
                    <a:pt x="11049"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45" name="Freeform: Shape 44">
              <a:extLst>
                <a:ext uri="{FF2B5EF4-FFF2-40B4-BE49-F238E27FC236}">
                  <a16:creationId xmlns:a16="http://schemas.microsoft.com/office/drawing/2014/main" id="{1CAB47BE-C88E-42C9-B822-4CDC9FF8323F}"/>
                </a:ext>
              </a:extLst>
            </p:cNvPr>
            <p:cNvSpPr/>
            <p:nvPr/>
          </p:nvSpPr>
          <p:spPr>
            <a:xfrm>
              <a:off x="6314343" y="3631183"/>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grpSp>
          <p:nvGrpSpPr>
            <p:cNvPr id="46" name="Graphic 13">
              <a:extLst>
                <a:ext uri="{FF2B5EF4-FFF2-40B4-BE49-F238E27FC236}">
                  <a16:creationId xmlns:a16="http://schemas.microsoft.com/office/drawing/2014/main" id="{4D7904CA-7D6A-4B03-BF1F-797F0D467D46}"/>
                </a:ext>
              </a:extLst>
            </p:cNvPr>
            <p:cNvGrpSpPr/>
            <p:nvPr/>
          </p:nvGrpSpPr>
          <p:grpSpPr>
            <a:xfrm>
              <a:off x="6132416" y="3381342"/>
              <a:ext cx="170688" cy="230219"/>
              <a:chOff x="6132416" y="3381342"/>
              <a:chExt cx="170688" cy="230219"/>
            </a:xfrm>
            <a:noFill/>
          </p:grpSpPr>
          <p:sp>
            <p:nvSpPr>
              <p:cNvPr id="47" name="Freeform: Shape 46">
                <a:extLst>
                  <a:ext uri="{FF2B5EF4-FFF2-40B4-BE49-F238E27FC236}">
                    <a16:creationId xmlns:a16="http://schemas.microsoft.com/office/drawing/2014/main" id="{6C2E22F3-66F4-4005-BA08-F5DCAC735A8E}"/>
                  </a:ext>
                </a:extLst>
              </p:cNvPr>
              <p:cNvSpPr/>
              <p:nvPr/>
            </p:nvSpPr>
            <p:spPr>
              <a:xfrm>
                <a:off x="6132416" y="3478116"/>
                <a:ext cx="170688" cy="133445"/>
              </a:xfrm>
              <a:custGeom>
                <a:avLst/>
                <a:gdLst>
                  <a:gd name="connsiteX0" fmla="*/ 170688 w 170688"/>
                  <a:gd name="connsiteY0" fmla="*/ 0 h 133445"/>
                  <a:gd name="connsiteX1" fmla="*/ 170688 w 170688"/>
                  <a:gd name="connsiteY1" fmla="*/ 0 h 133445"/>
                  <a:gd name="connsiteX2" fmla="*/ 170688 w 170688"/>
                  <a:gd name="connsiteY2" fmla="*/ 133445 h 133445"/>
                  <a:gd name="connsiteX3" fmla="*/ 0 w 170688"/>
                  <a:gd name="connsiteY3" fmla="*/ 133445 h 133445"/>
                  <a:gd name="connsiteX4" fmla="*/ 0 w 170688"/>
                  <a:gd name="connsiteY4" fmla="*/ 0 h 133445"/>
                  <a:gd name="connsiteX5" fmla="*/ 170688 w 170688"/>
                  <a:gd name="connsiteY5" fmla="*/ 0 h 133445"/>
                  <a:gd name="connsiteX6" fmla="*/ 170688 w 170688"/>
                  <a:gd name="connsiteY6" fmla="*/ 0 h 13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688" h="133445">
                    <a:moveTo>
                      <a:pt x="170688" y="0"/>
                    </a:moveTo>
                    <a:lnTo>
                      <a:pt x="170688" y="0"/>
                    </a:lnTo>
                    <a:lnTo>
                      <a:pt x="170688" y="133445"/>
                    </a:lnTo>
                    <a:cubicBezTo>
                      <a:pt x="170688" y="133445"/>
                      <a:pt x="170688" y="133445"/>
                      <a:pt x="0" y="133445"/>
                    </a:cubicBezTo>
                    <a:cubicBezTo>
                      <a:pt x="0" y="133445"/>
                      <a:pt x="0" y="133445"/>
                      <a:pt x="0" y="0"/>
                    </a:cubicBezTo>
                    <a:cubicBezTo>
                      <a:pt x="95" y="0"/>
                      <a:pt x="95" y="0"/>
                      <a:pt x="170688" y="0"/>
                    </a:cubicBezTo>
                    <a:lnTo>
                      <a:pt x="170688" y="0"/>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48" name="Freeform: Shape 47">
                <a:extLst>
                  <a:ext uri="{FF2B5EF4-FFF2-40B4-BE49-F238E27FC236}">
                    <a16:creationId xmlns:a16="http://schemas.microsoft.com/office/drawing/2014/main" id="{AF5A111A-2E74-4208-B121-8C9E77117186}"/>
                  </a:ext>
                </a:extLst>
              </p:cNvPr>
              <p:cNvSpPr/>
              <p:nvPr/>
            </p:nvSpPr>
            <p:spPr>
              <a:xfrm>
                <a:off x="6171087" y="3381342"/>
                <a:ext cx="95059" cy="96107"/>
              </a:xfrm>
              <a:custGeom>
                <a:avLst/>
                <a:gdLst>
                  <a:gd name="connsiteX0" fmla="*/ 0 w 95059"/>
                  <a:gd name="connsiteY0" fmla="*/ 96107 h 96107"/>
                  <a:gd name="connsiteX1" fmla="*/ 0 w 95059"/>
                  <a:gd name="connsiteY1" fmla="*/ 46958 h 96107"/>
                  <a:gd name="connsiteX2" fmla="*/ 47530 w 95059"/>
                  <a:gd name="connsiteY2" fmla="*/ 0 h 96107"/>
                  <a:gd name="connsiteX3" fmla="*/ 95060 w 95059"/>
                  <a:gd name="connsiteY3" fmla="*/ 46958 h 96107"/>
                  <a:gd name="connsiteX4" fmla="*/ 95060 w 95059"/>
                  <a:gd name="connsiteY4" fmla="*/ 96107 h 96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 h="96107">
                    <a:moveTo>
                      <a:pt x="0" y="96107"/>
                    </a:moveTo>
                    <a:cubicBezTo>
                      <a:pt x="0" y="96107"/>
                      <a:pt x="0" y="96774"/>
                      <a:pt x="0" y="46958"/>
                    </a:cubicBezTo>
                    <a:cubicBezTo>
                      <a:pt x="0" y="20574"/>
                      <a:pt x="20764" y="0"/>
                      <a:pt x="47530" y="0"/>
                    </a:cubicBezTo>
                    <a:cubicBezTo>
                      <a:pt x="72771" y="0"/>
                      <a:pt x="95060" y="20574"/>
                      <a:pt x="95060" y="46958"/>
                    </a:cubicBezTo>
                    <a:cubicBezTo>
                      <a:pt x="95060" y="46958"/>
                      <a:pt x="95060" y="46292"/>
                      <a:pt x="95060" y="96107"/>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49" name="Freeform: Shape 48">
                <a:extLst>
                  <a:ext uri="{FF2B5EF4-FFF2-40B4-BE49-F238E27FC236}">
                    <a16:creationId xmlns:a16="http://schemas.microsoft.com/office/drawing/2014/main" id="{6F542B86-BDAC-4285-91AF-0F49CDBC0F8A}"/>
                  </a:ext>
                </a:extLst>
              </p:cNvPr>
              <p:cNvSpPr/>
              <p:nvPr/>
            </p:nvSpPr>
            <p:spPr>
              <a:xfrm>
                <a:off x="6203567" y="3515073"/>
                <a:ext cx="31051" cy="31051"/>
              </a:xfrm>
              <a:custGeom>
                <a:avLst/>
                <a:gdLst>
                  <a:gd name="connsiteX0" fmla="*/ 31052 w 31051"/>
                  <a:gd name="connsiteY0" fmla="*/ 15526 h 31051"/>
                  <a:gd name="connsiteX1" fmla="*/ 31052 w 31051"/>
                  <a:gd name="connsiteY1" fmla="*/ 15526 h 31051"/>
                  <a:gd name="connsiteX2" fmla="*/ 15526 w 31051"/>
                  <a:gd name="connsiteY2" fmla="*/ 0 h 31051"/>
                  <a:gd name="connsiteX3" fmla="*/ 15526 w 31051"/>
                  <a:gd name="connsiteY3" fmla="*/ 0 h 31051"/>
                  <a:gd name="connsiteX4" fmla="*/ 0 w 31051"/>
                  <a:gd name="connsiteY4" fmla="*/ 15526 h 31051"/>
                  <a:gd name="connsiteX5" fmla="*/ 0 w 31051"/>
                  <a:gd name="connsiteY5" fmla="*/ 15526 h 31051"/>
                  <a:gd name="connsiteX6" fmla="*/ 15526 w 31051"/>
                  <a:gd name="connsiteY6" fmla="*/ 31051 h 31051"/>
                  <a:gd name="connsiteX7" fmla="*/ 15526 w 31051"/>
                  <a:gd name="connsiteY7" fmla="*/ 31051 h 31051"/>
                  <a:gd name="connsiteX8" fmla="*/ 31052 w 31051"/>
                  <a:gd name="connsiteY8" fmla="*/ 15526 h 3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51" h="31051">
                    <a:moveTo>
                      <a:pt x="31052" y="15526"/>
                    </a:moveTo>
                    <a:lnTo>
                      <a:pt x="31052" y="15526"/>
                    </a:lnTo>
                    <a:cubicBezTo>
                      <a:pt x="31052" y="7049"/>
                      <a:pt x="24098" y="0"/>
                      <a:pt x="15526" y="0"/>
                    </a:cubicBezTo>
                    <a:lnTo>
                      <a:pt x="15526" y="0"/>
                    </a:lnTo>
                    <a:cubicBezTo>
                      <a:pt x="7049" y="0"/>
                      <a:pt x="0" y="6953"/>
                      <a:pt x="0" y="15526"/>
                    </a:cubicBezTo>
                    <a:lnTo>
                      <a:pt x="0" y="15526"/>
                    </a:lnTo>
                    <a:cubicBezTo>
                      <a:pt x="0" y="24003"/>
                      <a:pt x="6953" y="31051"/>
                      <a:pt x="15526" y="31051"/>
                    </a:cubicBezTo>
                    <a:lnTo>
                      <a:pt x="15526" y="31051"/>
                    </a:lnTo>
                    <a:cubicBezTo>
                      <a:pt x="24003" y="31051"/>
                      <a:pt x="31052" y="24098"/>
                      <a:pt x="31052" y="1552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50" name="Freeform: Shape 49">
                <a:extLst>
                  <a:ext uri="{FF2B5EF4-FFF2-40B4-BE49-F238E27FC236}">
                    <a16:creationId xmlns:a16="http://schemas.microsoft.com/office/drawing/2014/main" id="{C450875A-904B-4A62-9011-7CCE7CE6AE1A}"/>
                  </a:ext>
                </a:extLst>
              </p:cNvPr>
              <p:cNvSpPr/>
              <p:nvPr/>
            </p:nvSpPr>
            <p:spPr>
              <a:xfrm>
                <a:off x="6211188" y="3545839"/>
                <a:ext cx="15811" cy="38385"/>
              </a:xfrm>
              <a:custGeom>
                <a:avLst/>
                <a:gdLst>
                  <a:gd name="connsiteX0" fmla="*/ 0 w 15811"/>
                  <a:gd name="connsiteY0" fmla="*/ 0 h 38385"/>
                  <a:gd name="connsiteX1" fmla="*/ 0 w 15811"/>
                  <a:gd name="connsiteY1" fmla="*/ 30670 h 38385"/>
                  <a:gd name="connsiteX2" fmla="*/ 7906 w 15811"/>
                  <a:gd name="connsiteY2" fmla="*/ 38386 h 38385"/>
                  <a:gd name="connsiteX3" fmla="*/ 7906 w 15811"/>
                  <a:gd name="connsiteY3" fmla="*/ 38386 h 38385"/>
                  <a:gd name="connsiteX4" fmla="*/ 15811 w 15811"/>
                  <a:gd name="connsiteY4" fmla="*/ 30670 h 38385"/>
                  <a:gd name="connsiteX5" fmla="*/ 15811 w 15811"/>
                  <a:gd name="connsiteY5" fmla="*/ 0 h 3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11" h="38385">
                    <a:moveTo>
                      <a:pt x="0" y="0"/>
                    </a:moveTo>
                    <a:lnTo>
                      <a:pt x="0" y="30670"/>
                    </a:lnTo>
                    <a:cubicBezTo>
                      <a:pt x="0" y="34957"/>
                      <a:pt x="3524" y="38386"/>
                      <a:pt x="7906" y="38386"/>
                    </a:cubicBezTo>
                    <a:lnTo>
                      <a:pt x="7906" y="38386"/>
                    </a:lnTo>
                    <a:cubicBezTo>
                      <a:pt x="12287" y="38386"/>
                      <a:pt x="15811" y="34862"/>
                      <a:pt x="15811" y="30670"/>
                    </a:cubicBezTo>
                    <a:lnTo>
                      <a:pt x="15811"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grpSp>
      </p:grpSp>
      <p:grpSp>
        <p:nvGrpSpPr>
          <p:cNvPr id="51" name="Group 50">
            <a:extLst>
              <a:ext uri="{FF2B5EF4-FFF2-40B4-BE49-F238E27FC236}">
                <a16:creationId xmlns:a16="http://schemas.microsoft.com/office/drawing/2014/main" id="{15D9D9BB-2E2E-4DEB-9327-11E6B9780475}"/>
              </a:ext>
            </a:extLst>
          </p:cNvPr>
          <p:cNvGrpSpPr/>
          <p:nvPr/>
        </p:nvGrpSpPr>
        <p:grpSpPr>
          <a:xfrm>
            <a:off x="2108139" y="2931539"/>
            <a:ext cx="551808" cy="433393"/>
            <a:chOff x="2013595" y="4071821"/>
            <a:chExt cx="410033" cy="322045"/>
          </a:xfrm>
        </p:grpSpPr>
        <p:sp>
          <p:nvSpPr>
            <p:cNvPr id="52" name="Freeform: Shape 51">
              <a:extLst>
                <a:ext uri="{FF2B5EF4-FFF2-40B4-BE49-F238E27FC236}">
                  <a16:creationId xmlns:a16="http://schemas.microsoft.com/office/drawing/2014/main" id="{7369DBE9-9C32-402C-82AE-E93A6DEFF8AB}"/>
                </a:ext>
              </a:extLst>
            </p:cNvPr>
            <p:cNvSpPr/>
            <p:nvPr/>
          </p:nvSpPr>
          <p:spPr>
            <a:xfrm rot="3600000">
              <a:off x="2066276" y="4119556"/>
              <a:ext cx="221629" cy="326992"/>
            </a:xfrm>
            <a:custGeom>
              <a:avLst/>
              <a:gdLst>
                <a:gd name="connsiteX0" fmla="*/ 0 w 221629"/>
                <a:gd name="connsiteY0" fmla="*/ 282959 h 326992"/>
                <a:gd name="connsiteX1" fmla="*/ 149717 w 221629"/>
                <a:gd name="connsiteY1" fmla="*/ 282959 h 326992"/>
                <a:gd name="connsiteX2" fmla="*/ 149717 w 221629"/>
                <a:gd name="connsiteY2" fmla="*/ 326992 h 326992"/>
                <a:gd name="connsiteX3" fmla="*/ 0 w 221629"/>
                <a:gd name="connsiteY3" fmla="*/ 326992 h 326992"/>
                <a:gd name="connsiteX4" fmla="*/ 208419 w 221629"/>
                <a:gd name="connsiteY4" fmla="*/ 486 h 326992"/>
                <a:gd name="connsiteX5" fmla="*/ 221629 w 221629"/>
                <a:gd name="connsiteY5" fmla="*/ 20301 h 326992"/>
                <a:gd name="connsiteX6" fmla="*/ 221629 w 221629"/>
                <a:gd name="connsiteY6" fmla="*/ 83050 h 326992"/>
                <a:gd name="connsiteX7" fmla="*/ 221629 w 221629"/>
                <a:gd name="connsiteY7" fmla="*/ 139193 h 326992"/>
                <a:gd name="connsiteX8" fmla="*/ 209519 w 221629"/>
                <a:gd name="connsiteY8" fmla="*/ 177723 h 326992"/>
                <a:gd name="connsiteX9" fmla="*/ 129158 w 221629"/>
                <a:gd name="connsiteY9" fmla="*/ 282303 h 326992"/>
                <a:gd name="connsiteX10" fmla="*/ 17971 w 221629"/>
                <a:gd name="connsiteY10" fmla="*/ 280101 h 326992"/>
                <a:gd name="connsiteX11" fmla="*/ 17971 w 221629"/>
                <a:gd name="connsiteY11" fmla="*/ 210749 h 326992"/>
                <a:gd name="connsiteX12" fmla="*/ 35584 w 221629"/>
                <a:gd name="connsiteY12" fmla="*/ 164513 h 326992"/>
                <a:gd name="connsiteX13" fmla="*/ 115947 w 221629"/>
                <a:gd name="connsiteY13" fmla="*/ 83050 h 326992"/>
                <a:gd name="connsiteX14" fmla="*/ 141266 w 221629"/>
                <a:gd name="connsiteY14" fmla="*/ 79747 h 326992"/>
                <a:gd name="connsiteX15" fmla="*/ 144570 w 221629"/>
                <a:gd name="connsiteY15" fmla="*/ 118277 h 326992"/>
                <a:gd name="connsiteX16" fmla="*/ 96132 w 221629"/>
                <a:gd name="connsiteY16" fmla="*/ 167815 h 326992"/>
                <a:gd name="connsiteX17" fmla="*/ 95030 w 221629"/>
                <a:gd name="connsiteY17" fmla="*/ 187630 h 326992"/>
                <a:gd name="connsiteX18" fmla="*/ 114846 w 221629"/>
                <a:gd name="connsiteY18" fmla="*/ 188732 h 326992"/>
                <a:gd name="connsiteX19" fmla="*/ 169889 w 221629"/>
                <a:gd name="connsiteY19" fmla="*/ 133689 h 326992"/>
                <a:gd name="connsiteX20" fmla="*/ 170990 w 221629"/>
                <a:gd name="connsiteY20" fmla="*/ 131488 h 326992"/>
                <a:gd name="connsiteX21" fmla="*/ 180897 w 221629"/>
                <a:gd name="connsiteY21" fmla="*/ 98462 h 326992"/>
                <a:gd name="connsiteX22" fmla="*/ 184200 w 221629"/>
                <a:gd name="connsiteY22" fmla="*/ 37915 h 326992"/>
                <a:gd name="connsiteX23" fmla="*/ 186402 w 221629"/>
                <a:gd name="connsiteY23" fmla="*/ 12596 h 326992"/>
                <a:gd name="connsiteX24" fmla="*/ 208419 w 221629"/>
                <a:gd name="connsiteY24" fmla="*/ 486 h 32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1629" h="326992">
                  <a:moveTo>
                    <a:pt x="0" y="282959"/>
                  </a:moveTo>
                  <a:lnTo>
                    <a:pt x="149717" y="282959"/>
                  </a:lnTo>
                  <a:lnTo>
                    <a:pt x="149717" y="326992"/>
                  </a:lnTo>
                  <a:lnTo>
                    <a:pt x="0" y="326992"/>
                  </a:lnTo>
                  <a:close/>
                  <a:moveTo>
                    <a:pt x="208419" y="486"/>
                  </a:moveTo>
                  <a:cubicBezTo>
                    <a:pt x="216125" y="1587"/>
                    <a:pt x="221629" y="10394"/>
                    <a:pt x="221629" y="20301"/>
                  </a:cubicBezTo>
                  <a:cubicBezTo>
                    <a:pt x="221629" y="41218"/>
                    <a:pt x="221629" y="62133"/>
                    <a:pt x="221629" y="83050"/>
                  </a:cubicBezTo>
                  <a:cubicBezTo>
                    <a:pt x="221629" y="101764"/>
                    <a:pt x="221629" y="120479"/>
                    <a:pt x="221629" y="139193"/>
                  </a:cubicBezTo>
                  <a:cubicBezTo>
                    <a:pt x="221629" y="153505"/>
                    <a:pt x="218326" y="165613"/>
                    <a:pt x="209519" y="177723"/>
                  </a:cubicBezTo>
                  <a:cubicBezTo>
                    <a:pt x="189704" y="201942"/>
                    <a:pt x="129158" y="282303"/>
                    <a:pt x="129158" y="282303"/>
                  </a:cubicBezTo>
                  <a:lnTo>
                    <a:pt x="17971" y="280101"/>
                  </a:lnTo>
                  <a:cubicBezTo>
                    <a:pt x="17971" y="280101"/>
                    <a:pt x="17971" y="231664"/>
                    <a:pt x="17971" y="210749"/>
                  </a:cubicBezTo>
                  <a:cubicBezTo>
                    <a:pt x="17971" y="192034"/>
                    <a:pt x="24576" y="176622"/>
                    <a:pt x="35584" y="164513"/>
                  </a:cubicBezTo>
                  <a:cubicBezTo>
                    <a:pt x="62005" y="136991"/>
                    <a:pt x="88425" y="109471"/>
                    <a:pt x="115947" y="83050"/>
                  </a:cubicBezTo>
                  <a:cubicBezTo>
                    <a:pt x="122552" y="76445"/>
                    <a:pt x="134661" y="75344"/>
                    <a:pt x="141266" y="79747"/>
                  </a:cubicBezTo>
                  <a:cubicBezTo>
                    <a:pt x="155578" y="89655"/>
                    <a:pt x="154477" y="107269"/>
                    <a:pt x="144570" y="118277"/>
                  </a:cubicBezTo>
                  <a:cubicBezTo>
                    <a:pt x="128056" y="134790"/>
                    <a:pt x="111544" y="151303"/>
                    <a:pt x="96132" y="167815"/>
                  </a:cubicBezTo>
                  <a:cubicBezTo>
                    <a:pt x="89527" y="174420"/>
                    <a:pt x="89527" y="182127"/>
                    <a:pt x="95030" y="187630"/>
                  </a:cubicBezTo>
                  <a:cubicBezTo>
                    <a:pt x="99434" y="192034"/>
                    <a:pt x="110442" y="193135"/>
                    <a:pt x="114846" y="188732"/>
                  </a:cubicBezTo>
                  <a:cubicBezTo>
                    <a:pt x="133561" y="170017"/>
                    <a:pt x="151175" y="151303"/>
                    <a:pt x="169889" y="133689"/>
                  </a:cubicBezTo>
                  <a:cubicBezTo>
                    <a:pt x="170990" y="132588"/>
                    <a:pt x="170990" y="132588"/>
                    <a:pt x="170990" y="131488"/>
                  </a:cubicBezTo>
                  <a:cubicBezTo>
                    <a:pt x="177595" y="121579"/>
                    <a:pt x="180897" y="110571"/>
                    <a:pt x="180897" y="98462"/>
                  </a:cubicBezTo>
                  <a:cubicBezTo>
                    <a:pt x="180897" y="78647"/>
                    <a:pt x="183099" y="57730"/>
                    <a:pt x="184200" y="37915"/>
                  </a:cubicBezTo>
                  <a:cubicBezTo>
                    <a:pt x="185301" y="29108"/>
                    <a:pt x="184200" y="20301"/>
                    <a:pt x="186402" y="12596"/>
                  </a:cubicBezTo>
                  <a:cubicBezTo>
                    <a:pt x="188604" y="3789"/>
                    <a:pt x="199612" y="-1716"/>
                    <a:pt x="208419" y="48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3C3C41"/>
                </a:solidFill>
                <a:latin typeface="Segoe UI"/>
              </a:endParaRPr>
            </a:p>
          </p:txBody>
        </p:sp>
        <p:grpSp>
          <p:nvGrpSpPr>
            <p:cNvPr id="53" name="Group 52">
              <a:extLst>
                <a:ext uri="{FF2B5EF4-FFF2-40B4-BE49-F238E27FC236}">
                  <a16:creationId xmlns:a16="http://schemas.microsoft.com/office/drawing/2014/main" id="{0FE836DC-F352-4FF0-8D6C-58B55606F717}"/>
                </a:ext>
              </a:extLst>
            </p:cNvPr>
            <p:cNvGrpSpPr/>
            <p:nvPr/>
          </p:nvGrpSpPr>
          <p:grpSpPr>
            <a:xfrm>
              <a:off x="2124123" y="4071821"/>
              <a:ext cx="299505" cy="230916"/>
              <a:chOff x="5236164" y="3478801"/>
              <a:chExt cx="124778" cy="96203"/>
            </a:xfrm>
          </p:grpSpPr>
          <p:sp>
            <p:nvSpPr>
              <p:cNvPr id="54" name="Freeform: Shape 53">
                <a:extLst>
                  <a:ext uri="{FF2B5EF4-FFF2-40B4-BE49-F238E27FC236}">
                    <a16:creationId xmlns:a16="http://schemas.microsoft.com/office/drawing/2014/main" id="{F722E28D-75E4-4370-A258-6832CF9D1315}"/>
                  </a:ext>
                </a:extLst>
              </p:cNvPr>
              <p:cNvSpPr/>
              <p:nvPr/>
            </p:nvSpPr>
            <p:spPr>
              <a:xfrm>
                <a:off x="5236164" y="3478801"/>
                <a:ext cx="66675" cy="66675"/>
              </a:xfrm>
              <a:custGeom>
                <a:avLst/>
                <a:gdLst>
                  <a:gd name="connsiteX0" fmla="*/ 64498 w 66675"/>
                  <a:gd name="connsiteY0" fmla="*/ 55926 h 66675"/>
                  <a:gd name="connsiteX1" fmla="*/ 7348 w 66675"/>
                  <a:gd name="connsiteY1" fmla="*/ 7348 h 66675"/>
                  <a:gd name="connsiteX2" fmla="*/ 64498 w 66675"/>
                  <a:gd name="connsiteY2" fmla="*/ 67356 h 66675"/>
                </a:gdLst>
                <a:ahLst/>
                <a:cxnLst>
                  <a:cxn ang="0">
                    <a:pos x="connsiteX0" y="connsiteY0"/>
                  </a:cxn>
                  <a:cxn ang="0">
                    <a:pos x="connsiteX1" y="connsiteY1"/>
                  </a:cxn>
                  <a:cxn ang="0">
                    <a:pos x="connsiteX2" y="connsiteY2"/>
                  </a:cxn>
                </a:cxnLst>
                <a:rect l="l" t="t" r="r" b="b"/>
                <a:pathLst>
                  <a:path w="66675" h="66675">
                    <a:moveTo>
                      <a:pt x="64498" y="55926"/>
                    </a:moveTo>
                    <a:cubicBezTo>
                      <a:pt x="64498" y="55926"/>
                      <a:pt x="61641" y="14968"/>
                      <a:pt x="7348" y="7348"/>
                    </a:cubicBezTo>
                    <a:cubicBezTo>
                      <a:pt x="7348" y="23541"/>
                      <a:pt x="17826" y="63546"/>
                      <a:pt x="64498" y="6735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3C3C41"/>
                  </a:solidFill>
                  <a:latin typeface="Segoe UI"/>
                </a:endParaRPr>
              </a:p>
            </p:txBody>
          </p:sp>
          <p:sp>
            <p:nvSpPr>
              <p:cNvPr id="55" name="Freeform: Shape 54">
                <a:extLst>
                  <a:ext uri="{FF2B5EF4-FFF2-40B4-BE49-F238E27FC236}">
                    <a16:creationId xmlns:a16="http://schemas.microsoft.com/office/drawing/2014/main" id="{9E5AD98D-D79D-439B-BFE6-CD6DE06FCD7B}"/>
                  </a:ext>
                </a:extLst>
              </p:cNvPr>
              <p:cNvSpPr/>
              <p:nvPr/>
            </p:nvSpPr>
            <p:spPr>
              <a:xfrm>
                <a:off x="5294267" y="3478801"/>
                <a:ext cx="66675" cy="66675"/>
              </a:xfrm>
              <a:custGeom>
                <a:avLst/>
                <a:gdLst>
                  <a:gd name="connsiteX0" fmla="*/ 7348 w 66675"/>
                  <a:gd name="connsiteY0" fmla="*/ 55926 h 66675"/>
                  <a:gd name="connsiteX1" fmla="*/ 64498 w 66675"/>
                  <a:gd name="connsiteY1" fmla="*/ 7348 h 66675"/>
                  <a:gd name="connsiteX2" fmla="*/ 7348 w 66675"/>
                  <a:gd name="connsiteY2" fmla="*/ 67356 h 66675"/>
                </a:gdLst>
                <a:ahLst/>
                <a:cxnLst>
                  <a:cxn ang="0">
                    <a:pos x="connsiteX0" y="connsiteY0"/>
                  </a:cxn>
                  <a:cxn ang="0">
                    <a:pos x="connsiteX1" y="connsiteY1"/>
                  </a:cxn>
                  <a:cxn ang="0">
                    <a:pos x="connsiteX2" y="connsiteY2"/>
                  </a:cxn>
                </a:cxnLst>
                <a:rect l="l" t="t" r="r" b="b"/>
                <a:pathLst>
                  <a:path w="66675" h="66675">
                    <a:moveTo>
                      <a:pt x="7348" y="55926"/>
                    </a:moveTo>
                    <a:cubicBezTo>
                      <a:pt x="7348" y="55926"/>
                      <a:pt x="10206" y="14968"/>
                      <a:pt x="64498" y="7348"/>
                    </a:cubicBezTo>
                    <a:cubicBezTo>
                      <a:pt x="64498" y="23541"/>
                      <a:pt x="54021" y="63546"/>
                      <a:pt x="7348" y="6735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3C3C41"/>
                  </a:solidFill>
                  <a:latin typeface="Segoe UI"/>
                </a:endParaRPr>
              </a:p>
            </p:txBody>
          </p:sp>
          <p:sp>
            <p:nvSpPr>
              <p:cNvPr id="56" name="Freeform: Shape 55">
                <a:extLst>
                  <a:ext uri="{FF2B5EF4-FFF2-40B4-BE49-F238E27FC236}">
                    <a16:creationId xmlns:a16="http://schemas.microsoft.com/office/drawing/2014/main" id="{9C975DEC-5D2B-481B-840A-BC817B8035D2}"/>
                  </a:ext>
                </a:extLst>
              </p:cNvPr>
              <p:cNvSpPr/>
              <p:nvPr/>
            </p:nvSpPr>
            <p:spPr>
              <a:xfrm>
                <a:off x="5293314" y="3527379"/>
                <a:ext cx="9525" cy="47625"/>
              </a:xfrm>
              <a:custGeom>
                <a:avLst/>
                <a:gdLst>
                  <a:gd name="connsiteX0" fmla="*/ 7348 w 9525"/>
                  <a:gd name="connsiteY0" fmla="*/ 7348 h 47625"/>
                  <a:gd name="connsiteX1" fmla="*/ 7348 w 9525"/>
                  <a:gd name="connsiteY1" fmla="*/ 47353 h 47625"/>
                </a:gdLst>
                <a:ahLst/>
                <a:cxnLst>
                  <a:cxn ang="0">
                    <a:pos x="connsiteX0" y="connsiteY0"/>
                  </a:cxn>
                  <a:cxn ang="0">
                    <a:pos x="connsiteX1" y="connsiteY1"/>
                  </a:cxn>
                </a:cxnLst>
                <a:rect l="l" t="t" r="r" b="b"/>
                <a:pathLst>
                  <a:path w="9525" h="47625">
                    <a:moveTo>
                      <a:pt x="7348" y="7348"/>
                    </a:moveTo>
                    <a:lnTo>
                      <a:pt x="7348" y="4735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3C3C41"/>
                  </a:solidFill>
                  <a:latin typeface="Segoe UI"/>
                </a:endParaRPr>
              </a:p>
            </p:txBody>
          </p:sp>
        </p:grpSp>
      </p:grpSp>
      <p:sp>
        <p:nvSpPr>
          <p:cNvPr id="57" name="Org_ECA6" title="Icon of three boxes in a bracket chart">
            <a:extLst>
              <a:ext uri="{FF2B5EF4-FFF2-40B4-BE49-F238E27FC236}">
                <a16:creationId xmlns:a16="http://schemas.microsoft.com/office/drawing/2014/main" id="{A1C56FE7-1D32-497C-A864-ADCACC74C397}"/>
              </a:ext>
            </a:extLst>
          </p:cNvPr>
          <p:cNvSpPr>
            <a:spLocks noChangeAspect="1" noEditPoints="1"/>
          </p:cNvSpPr>
          <p:nvPr/>
        </p:nvSpPr>
        <p:spPr bwMode="auto">
          <a:xfrm>
            <a:off x="2142591" y="4053796"/>
            <a:ext cx="482907" cy="48314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900">
              <a:gradFill>
                <a:gsLst>
                  <a:gs pos="0">
                    <a:srgbClr val="505050"/>
                  </a:gs>
                  <a:gs pos="100000">
                    <a:srgbClr val="505050"/>
                  </a:gs>
                </a:gsLst>
                <a:lin ang="5400000" scaled="1"/>
              </a:gradFill>
              <a:latin typeface="Segoe UI"/>
            </a:endParaRPr>
          </a:p>
        </p:txBody>
      </p:sp>
      <p:grpSp>
        <p:nvGrpSpPr>
          <p:cNvPr id="58" name="Group 57">
            <a:extLst>
              <a:ext uri="{FF2B5EF4-FFF2-40B4-BE49-F238E27FC236}">
                <a16:creationId xmlns:a16="http://schemas.microsoft.com/office/drawing/2014/main" id="{3FB7CA79-3AA2-4D86-B79D-7D68FF7B36F2}"/>
              </a:ext>
            </a:extLst>
          </p:cNvPr>
          <p:cNvGrpSpPr/>
          <p:nvPr/>
        </p:nvGrpSpPr>
        <p:grpSpPr>
          <a:xfrm>
            <a:off x="2186339" y="5232006"/>
            <a:ext cx="395411" cy="420981"/>
            <a:chOff x="-822566" y="1734863"/>
            <a:chExt cx="343544" cy="365760"/>
          </a:xfrm>
        </p:grpSpPr>
        <p:sp>
          <p:nvSpPr>
            <p:cNvPr id="59" name="Shield_EA18" title="Icon of a shield">
              <a:extLst>
                <a:ext uri="{FF2B5EF4-FFF2-40B4-BE49-F238E27FC236}">
                  <a16:creationId xmlns:a16="http://schemas.microsoft.com/office/drawing/2014/main" id="{EB08BB3F-BA4E-4E16-9510-F96FE58BFBBE}"/>
                </a:ext>
              </a:extLst>
            </p:cNvPr>
            <p:cNvSpPr>
              <a:spLocks noChangeAspect="1"/>
            </p:cNvSpPr>
            <p:nvPr/>
          </p:nvSpPr>
          <p:spPr bwMode="auto">
            <a:xfrm>
              <a:off x="-822566" y="1734863"/>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60" name="Lock" title="Icon of a padlock">
              <a:extLst>
                <a:ext uri="{FF2B5EF4-FFF2-40B4-BE49-F238E27FC236}">
                  <a16:creationId xmlns:a16="http://schemas.microsoft.com/office/drawing/2014/main" id="{27C04946-45D3-4EA8-8EF3-3752C729B48F}"/>
                </a:ext>
              </a:extLst>
            </p:cNvPr>
            <p:cNvSpPr>
              <a:spLocks noChangeAspect="1" noEditPoints="1"/>
            </p:cNvSpPr>
            <p:nvPr/>
          </p:nvSpPr>
          <p:spPr bwMode="auto">
            <a:xfrm>
              <a:off x="-715919" y="1826722"/>
              <a:ext cx="130250" cy="18204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3C3C41"/>
                </a:solidFill>
                <a:latin typeface="Segoe UI"/>
              </a:endParaRPr>
            </a:p>
          </p:txBody>
        </p:sp>
      </p:grpSp>
      <p:grpSp>
        <p:nvGrpSpPr>
          <p:cNvPr id="61" name="Graphic 4">
            <a:extLst>
              <a:ext uri="{FF2B5EF4-FFF2-40B4-BE49-F238E27FC236}">
                <a16:creationId xmlns:a16="http://schemas.microsoft.com/office/drawing/2014/main" id="{5118088D-29B4-4DF9-8602-F4D96F646872}"/>
              </a:ext>
            </a:extLst>
          </p:cNvPr>
          <p:cNvGrpSpPr/>
          <p:nvPr/>
        </p:nvGrpSpPr>
        <p:grpSpPr>
          <a:xfrm>
            <a:off x="6857958" y="1768448"/>
            <a:ext cx="407499" cy="465312"/>
            <a:chOff x="-249143" y="2606769"/>
            <a:chExt cx="345090" cy="394049"/>
          </a:xfrm>
          <a:noFill/>
        </p:grpSpPr>
        <p:sp>
          <p:nvSpPr>
            <p:cNvPr id="62" name="Freeform: Shape 61">
              <a:extLst>
                <a:ext uri="{FF2B5EF4-FFF2-40B4-BE49-F238E27FC236}">
                  <a16:creationId xmlns:a16="http://schemas.microsoft.com/office/drawing/2014/main" id="{3EF647B2-80A7-45C4-8BE8-C6A2F7C2C004}"/>
                </a:ext>
              </a:extLst>
            </p:cNvPr>
            <p:cNvSpPr/>
            <p:nvPr/>
          </p:nvSpPr>
          <p:spPr>
            <a:xfrm>
              <a:off x="-249143" y="2606769"/>
              <a:ext cx="345090" cy="394049"/>
            </a:xfrm>
            <a:custGeom>
              <a:avLst/>
              <a:gdLst>
                <a:gd name="connsiteX0" fmla="*/ 0 w 345090"/>
                <a:gd name="connsiteY0" fmla="*/ 0 h 394049"/>
                <a:gd name="connsiteX1" fmla="*/ 345091 w 345090"/>
                <a:gd name="connsiteY1" fmla="*/ 0 h 394049"/>
                <a:gd name="connsiteX2" fmla="*/ 345091 w 345090"/>
                <a:gd name="connsiteY2" fmla="*/ 394049 h 394049"/>
                <a:gd name="connsiteX3" fmla="*/ 0 w 345090"/>
                <a:gd name="connsiteY3" fmla="*/ 394049 h 394049"/>
              </a:gdLst>
              <a:ahLst/>
              <a:cxnLst>
                <a:cxn ang="0">
                  <a:pos x="connsiteX0" y="connsiteY0"/>
                </a:cxn>
                <a:cxn ang="0">
                  <a:pos x="connsiteX1" y="connsiteY1"/>
                </a:cxn>
                <a:cxn ang="0">
                  <a:pos x="connsiteX2" y="connsiteY2"/>
                </a:cxn>
                <a:cxn ang="0">
                  <a:pos x="connsiteX3" y="connsiteY3"/>
                </a:cxn>
              </a:cxnLst>
              <a:rect l="l" t="t" r="r" b="b"/>
              <a:pathLst>
                <a:path w="345090" h="394049">
                  <a:moveTo>
                    <a:pt x="0" y="0"/>
                  </a:moveTo>
                  <a:lnTo>
                    <a:pt x="345091" y="0"/>
                  </a:lnTo>
                  <a:lnTo>
                    <a:pt x="345091" y="394049"/>
                  </a:lnTo>
                  <a:lnTo>
                    <a:pt x="0" y="394049"/>
                  </a:lnTo>
                  <a:close/>
                </a:path>
              </a:pathLst>
            </a:custGeom>
            <a:noFill/>
            <a:ln w="15875" cap="sq">
              <a:solidFill>
                <a:schemeClr val="tx1"/>
              </a:solidFill>
              <a:prstDash val="solid"/>
              <a:miter/>
            </a:ln>
          </p:spPr>
          <p:txBody>
            <a:bodyPr rtlCol="0" anchor="ctr"/>
            <a:lstStyle/>
            <a:p>
              <a:pPr defTabSz="932563"/>
              <a:endParaRPr lang="en-IN">
                <a:solidFill>
                  <a:srgbClr val="3C3C41"/>
                </a:solidFill>
                <a:latin typeface="Segoe UI"/>
              </a:endParaRPr>
            </a:p>
          </p:txBody>
        </p:sp>
        <p:grpSp>
          <p:nvGrpSpPr>
            <p:cNvPr id="63" name="Graphic 4">
              <a:extLst>
                <a:ext uri="{FF2B5EF4-FFF2-40B4-BE49-F238E27FC236}">
                  <a16:creationId xmlns:a16="http://schemas.microsoft.com/office/drawing/2014/main" id="{608BF601-190A-4006-9052-6DECA3CD506B}"/>
                </a:ext>
              </a:extLst>
            </p:cNvPr>
            <p:cNvGrpSpPr/>
            <p:nvPr/>
          </p:nvGrpSpPr>
          <p:grpSpPr>
            <a:xfrm>
              <a:off x="-167609" y="2715926"/>
              <a:ext cx="181832" cy="181832"/>
              <a:chOff x="-167609" y="2715926"/>
              <a:chExt cx="181832" cy="181832"/>
            </a:xfrm>
            <a:noFill/>
          </p:grpSpPr>
          <p:sp>
            <p:nvSpPr>
              <p:cNvPr id="64" name="Freeform: Shape 63">
                <a:extLst>
                  <a:ext uri="{FF2B5EF4-FFF2-40B4-BE49-F238E27FC236}">
                    <a16:creationId xmlns:a16="http://schemas.microsoft.com/office/drawing/2014/main" id="{954557F2-A3AC-425E-9201-786E5C75AF15}"/>
                  </a:ext>
                </a:extLst>
              </p:cNvPr>
              <p:cNvSpPr/>
              <p:nvPr/>
            </p:nvSpPr>
            <p:spPr>
              <a:xfrm>
                <a:off x="-167609" y="2715926"/>
                <a:ext cx="181832" cy="181832"/>
              </a:xfrm>
              <a:custGeom>
                <a:avLst/>
                <a:gdLst>
                  <a:gd name="connsiteX0" fmla="*/ 0 w 181832"/>
                  <a:gd name="connsiteY0" fmla="*/ 181832 h 181832"/>
                  <a:gd name="connsiteX1" fmla="*/ 181832 w 181832"/>
                  <a:gd name="connsiteY1" fmla="*/ 181832 h 181832"/>
                  <a:gd name="connsiteX2" fmla="*/ 87058 w 181832"/>
                  <a:gd name="connsiteY2" fmla="*/ 0 h 181832"/>
                </a:gdLst>
                <a:ahLst/>
                <a:cxnLst>
                  <a:cxn ang="0">
                    <a:pos x="connsiteX0" y="connsiteY0"/>
                  </a:cxn>
                  <a:cxn ang="0">
                    <a:pos x="connsiteX1" y="connsiteY1"/>
                  </a:cxn>
                  <a:cxn ang="0">
                    <a:pos x="connsiteX2" y="connsiteY2"/>
                  </a:cxn>
                </a:cxnLst>
                <a:rect l="l" t="t" r="r" b="b"/>
                <a:pathLst>
                  <a:path w="181832" h="181832">
                    <a:moveTo>
                      <a:pt x="0" y="181832"/>
                    </a:moveTo>
                    <a:lnTo>
                      <a:pt x="181832" y="181832"/>
                    </a:lnTo>
                    <a:lnTo>
                      <a:pt x="87058" y="0"/>
                    </a:lnTo>
                    <a:close/>
                  </a:path>
                </a:pathLst>
              </a:custGeom>
              <a:noFill/>
              <a:ln w="15875" cap="sq">
                <a:solidFill>
                  <a:schemeClr val="tx1"/>
                </a:solidFill>
                <a:prstDash val="solid"/>
                <a:miter/>
              </a:ln>
            </p:spPr>
            <p:txBody>
              <a:bodyPr rtlCol="0" anchor="ctr"/>
              <a:lstStyle/>
              <a:p>
                <a:pPr defTabSz="932563"/>
                <a:endParaRPr lang="en-IN">
                  <a:solidFill>
                    <a:srgbClr val="3C3C41"/>
                  </a:solidFill>
                  <a:latin typeface="Segoe UI"/>
                </a:endParaRPr>
              </a:p>
            </p:txBody>
          </p:sp>
          <p:sp>
            <p:nvSpPr>
              <p:cNvPr id="65" name="Freeform: Shape 64">
                <a:extLst>
                  <a:ext uri="{FF2B5EF4-FFF2-40B4-BE49-F238E27FC236}">
                    <a16:creationId xmlns:a16="http://schemas.microsoft.com/office/drawing/2014/main" id="{30EB879F-5292-4DAB-B6EC-D28B9D6A112B}"/>
                  </a:ext>
                </a:extLst>
              </p:cNvPr>
              <p:cNvSpPr/>
              <p:nvPr/>
            </p:nvSpPr>
            <p:spPr>
              <a:xfrm>
                <a:off x="-76645" y="2781267"/>
                <a:ext cx="9525" cy="67818"/>
              </a:xfrm>
              <a:custGeom>
                <a:avLst/>
                <a:gdLst>
                  <a:gd name="connsiteX0" fmla="*/ 0 w 9525"/>
                  <a:gd name="connsiteY0" fmla="*/ 0 h 67818"/>
                  <a:gd name="connsiteX1" fmla="*/ 0 w 9525"/>
                  <a:gd name="connsiteY1" fmla="*/ 67818 h 67818"/>
                </a:gdLst>
                <a:ahLst/>
                <a:cxnLst>
                  <a:cxn ang="0">
                    <a:pos x="connsiteX0" y="connsiteY0"/>
                  </a:cxn>
                  <a:cxn ang="0">
                    <a:pos x="connsiteX1" y="connsiteY1"/>
                  </a:cxn>
                </a:cxnLst>
                <a:rect l="l" t="t" r="r" b="b"/>
                <a:pathLst>
                  <a:path w="9525" h="67818">
                    <a:moveTo>
                      <a:pt x="0" y="0"/>
                    </a:moveTo>
                    <a:lnTo>
                      <a:pt x="0" y="67818"/>
                    </a:lnTo>
                  </a:path>
                </a:pathLst>
              </a:custGeom>
              <a:ln w="15875" cap="sq">
                <a:solidFill>
                  <a:schemeClr val="tx1"/>
                </a:solidFill>
                <a:prstDash val="solid"/>
                <a:miter/>
              </a:ln>
            </p:spPr>
            <p:txBody>
              <a:bodyPr rtlCol="0" anchor="ctr"/>
              <a:lstStyle/>
              <a:p>
                <a:pPr defTabSz="932563"/>
                <a:endParaRPr lang="en-IN">
                  <a:solidFill>
                    <a:srgbClr val="3C3C41"/>
                  </a:solidFill>
                  <a:latin typeface="Segoe UI"/>
                </a:endParaRPr>
              </a:p>
            </p:txBody>
          </p:sp>
          <p:sp>
            <p:nvSpPr>
              <p:cNvPr id="66" name="Freeform: Shape 65">
                <a:extLst>
                  <a:ext uri="{FF2B5EF4-FFF2-40B4-BE49-F238E27FC236}">
                    <a16:creationId xmlns:a16="http://schemas.microsoft.com/office/drawing/2014/main" id="{F47DB022-2D85-4C44-8FA5-CFFB26A99FA0}"/>
                  </a:ext>
                </a:extLst>
              </p:cNvPr>
              <p:cNvSpPr/>
              <p:nvPr/>
            </p:nvSpPr>
            <p:spPr>
              <a:xfrm>
                <a:off x="-76645" y="2867278"/>
                <a:ext cx="9525" cy="6857"/>
              </a:xfrm>
              <a:custGeom>
                <a:avLst/>
                <a:gdLst>
                  <a:gd name="connsiteX0" fmla="*/ 0 w 9525"/>
                  <a:gd name="connsiteY0" fmla="*/ 0 h 6857"/>
                  <a:gd name="connsiteX1" fmla="*/ 0 w 9525"/>
                  <a:gd name="connsiteY1" fmla="*/ 6858 h 6857"/>
                </a:gdLst>
                <a:ahLst/>
                <a:cxnLst>
                  <a:cxn ang="0">
                    <a:pos x="connsiteX0" y="connsiteY0"/>
                  </a:cxn>
                  <a:cxn ang="0">
                    <a:pos x="connsiteX1" y="connsiteY1"/>
                  </a:cxn>
                </a:cxnLst>
                <a:rect l="l" t="t" r="r" b="b"/>
                <a:pathLst>
                  <a:path w="9525" h="6857">
                    <a:moveTo>
                      <a:pt x="0" y="0"/>
                    </a:moveTo>
                    <a:lnTo>
                      <a:pt x="0" y="6858"/>
                    </a:lnTo>
                  </a:path>
                </a:pathLst>
              </a:custGeom>
              <a:ln w="15875" cap="sq">
                <a:solidFill>
                  <a:schemeClr val="tx1"/>
                </a:solidFill>
                <a:prstDash val="solid"/>
                <a:miter/>
              </a:ln>
            </p:spPr>
            <p:txBody>
              <a:bodyPr rtlCol="0" anchor="ctr"/>
              <a:lstStyle/>
              <a:p>
                <a:pPr defTabSz="932563"/>
                <a:endParaRPr lang="en-IN">
                  <a:solidFill>
                    <a:srgbClr val="3C3C41"/>
                  </a:solidFill>
                  <a:latin typeface="Segoe UI"/>
                </a:endParaRPr>
              </a:p>
            </p:txBody>
          </p:sp>
        </p:grpSp>
      </p:grpSp>
      <p:grpSp>
        <p:nvGrpSpPr>
          <p:cNvPr id="67" name="Group 66">
            <a:extLst>
              <a:ext uri="{FF2B5EF4-FFF2-40B4-BE49-F238E27FC236}">
                <a16:creationId xmlns:a16="http://schemas.microsoft.com/office/drawing/2014/main" id="{3BA70B0C-215D-4624-945C-3002F4D13E8F}"/>
              </a:ext>
            </a:extLst>
          </p:cNvPr>
          <p:cNvGrpSpPr/>
          <p:nvPr/>
        </p:nvGrpSpPr>
        <p:grpSpPr>
          <a:xfrm>
            <a:off x="6787156" y="3041454"/>
            <a:ext cx="517291" cy="519679"/>
            <a:chOff x="3081076" y="369463"/>
            <a:chExt cx="949166" cy="953547"/>
          </a:xfrm>
        </p:grpSpPr>
        <p:sp>
          <p:nvSpPr>
            <p:cNvPr id="68" name="Freeform: Shape 67">
              <a:extLst>
                <a:ext uri="{FF2B5EF4-FFF2-40B4-BE49-F238E27FC236}">
                  <a16:creationId xmlns:a16="http://schemas.microsoft.com/office/drawing/2014/main" id="{3C57BC2D-835C-4C7F-99AB-6E577C9FA79C}"/>
                </a:ext>
              </a:extLst>
            </p:cNvPr>
            <p:cNvSpPr/>
            <p:nvPr/>
          </p:nvSpPr>
          <p:spPr>
            <a:xfrm>
              <a:off x="3409784" y="714458"/>
              <a:ext cx="338708" cy="211455"/>
            </a:xfrm>
            <a:custGeom>
              <a:avLst/>
              <a:gdLst>
                <a:gd name="connsiteX0" fmla="*/ 86678 w 338708"/>
                <a:gd name="connsiteY0" fmla="*/ 211455 h 211455"/>
                <a:gd name="connsiteX1" fmla="*/ 86678 w 338708"/>
                <a:gd name="connsiteY1" fmla="*/ 211455 h 211455"/>
                <a:gd name="connsiteX2" fmla="*/ 84677 w 338708"/>
                <a:gd name="connsiteY2" fmla="*/ 211455 h 211455"/>
                <a:gd name="connsiteX3" fmla="*/ 0 w 338708"/>
                <a:gd name="connsiteY3" fmla="*/ 126682 h 211455"/>
                <a:gd name="connsiteX4" fmla="*/ 84677 w 338708"/>
                <a:gd name="connsiteY4" fmla="*/ 42863 h 211455"/>
                <a:gd name="connsiteX5" fmla="*/ 102394 w 338708"/>
                <a:gd name="connsiteY5" fmla="*/ 43815 h 211455"/>
                <a:gd name="connsiteX6" fmla="*/ 181166 w 338708"/>
                <a:gd name="connsiteY6" fmla="*/ 0 h 211455"/>
                <a:gd name="connsiteX7" fmla="*/ 273748 w 338708"/>
                <a:gd name="connsiteY7" fmla="*/ 82772 h 211455"/>
                <a:gd name="connsiteX8" fmla="*/ 273748 w 338708"/>
                <a:gd name="connsiteY8" fmla="*/ 82772 h 211455"/>
                <a:gd name="connsiteX9" fmla="*/ 338709 w 338708"/>
                <a:gd name="connsiteY9" fmla="*/ 147066 h 211455"/>
                <a:gd name="connsiteX10" fmla="*/ 276701 w 338708"/>
                <a:gd name="connsiteY10" fmla="*/ 211360 h 211455"/>
                <a:gd name="connsiteX11" fmla="*/ 276701 w 338708"/>
                <a:gd name="connsiteY11" fmla="*/ 211360 h 211455"/>
                <a:gd name="connsiteX12" fmla="*/ 86678 w 338708"/>
                <a:gd name="connsiteY12" fmla="*/ 211455 h 21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708" h="211455">
                  <a:moveTo>
                    <a:pt x="86678" y="211455"/>
                  </a:moveTo>
                  <a:lnTo>
                    <a:pt x="86678" y="211455"/>
                  </a:lnTo>
                  <a:cubicBezTo>
                    <a:pt x="85725" y="211455"/>
                    <a:pt x="85725" y="211455"/>
                    <a:pt x="84677" y="211455"/>
                  </a:cubicBezTo>
                  <a:cubicBezTo>
                    <a:pt x="38386" y="211455"/>
                    <a:pt x="0" y="173450"/>
                    <a:pt x="0" y="126682"/>
                  </a:cubicBezTo>
                  <a:cubicBezTo>
                    <a:pt x="0" y="79915"/>
                    <a:pt x="38386" y="42863"/>
                    <a:pt x="84677" y="42863"/>
                  </a:cubicBezTo>
                  <a:cubicBezTo>
                    <a:pt x="90583" y="42863"/>
                    <a:pt x="96488" y="42863"/>
                    <a:pt x="102394" y="43815"/>
                  </a:cubicBezTo>
                  <a:cubicBezTo>
                    <a:pt x="119158" y="17526"/>
                    <a:pt x="147638" y="0"/>
                    <a:pt x="181166" y="0"/>
                  </a:cubicBezTo>
                  <a:cubicBezTo>
                    <a:pt x="229362" y="0"/>
                    <a:pt x="268796" y="36004"/>
                    <a:pt x="273748" y="82772"/>
                  </a:cubicBezTo>
                  <a:lnTo>
                    <a:pt x="273748" y="82772"/>
                  </a:lnTo>
                  <a:cubicBezTo>
                    <a:pt x="310134" y="82772"/>
                    <a:pt x="338709" y="111062"/>
                    <a:pt x="338709" y="147066"/>
                  </a:cubicBezTo>
                  <a:cubicBezTo>
                    <a:pt x="338709" y="181166"/>
                    <a:pt x="311182" y="210407"/>
                    <a:pt x="276701" y="211360"/>
                  </a:cubicBezTo>
                  <a:lnTo>
                    <a:pt x="276701" y="211360"/>
                  </a:lnTo>
                  <a:cubicBezTo>
                    <a:pt x="254127" y="211455"/>
                    <a:pt x="86678" y="211455"/>
                    <a:pt x="86678" y="21145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69" name="Freeform: Shape 68">
              <a:extLst>
                <a:ext uri="{FF2B5EF4-FFF2-40B4-BE49-F238E27FC236}">
                  <a16:creationId xmlns:a16="http://schemas.microsoft.com/office/drawing/2014/main" id="{F8AD0729-2073-4B6B-916D-80DEFA76E71E}"/>
                </a:ext>
              </a:extLst>
            </p:cNvPr>
            <p:cNvSpPr/>
            <p:nvPr/>
          </p:nvSpPr>
          <p:spPr>
            <a:xfrm>
              <a:off x="3518083" y="369463"/>
              <a:ext cx="122015" cy="201358"/>
            </a:xfrm>
            <a:custGeom>
              <a:avLst/>
              <a:gdLst>
                <a:gd name="connsiteX0" fmla="*/ 115253 w 122015"/>
                <a:gd name="connsiteY0" fmla="*/ 201359 h 201358"/>
                <a:gd name="connsiteX1" fmla="*/ 6763 w 122015"/>
                <a:gd name="connsiteY1" fmla="*/ 201359 h 201358"/>
                <a:gd name="connsiteX2" fmla="*/ 0 w 122015"/>
                <a:gd name="connsiteY2" fmla="*/ 194691 h 201358"/>
                <a:gd name="connsiteX3" fmla="*/ 0 w 122015"/>
                <a:gd name="connsiteY3" fmla="*/ 6668 h 201358"/>
                <a:gd name="connsiteX4" fmla="*/ 6763 w 122015"/>
                <a:gd name="connsiteY4" fmla="*/ 0 h 201358"/>
                <a:gd name="connsiteX5" fmla="*/ 115253 w 122015"/>
                <a:gd name="connsiteY5" fmla="*/ 0 h 201358"/>
                <a:gd name="connsiteX6" fmla="*/ 122015 w 122015"/>
                <a:gd name="connsiteY6" fmla="*/ 6668 h 201358"/>
                <a:gd name="connsiteX7" fmla="*/ 122015 w 122015"/>
                <a:gd name="connsiteY7" fmla="*/ 194691 h 201358"/>
                <a:gd name="connsiteX8" fmla="*/ 115253 w 122015"/>
                <a:gd name="connsiteY8" fmla="*/ 201359 h 201358"/>
                <a:gd name="connsiteX9" fmla="*/ 115253 w 122015"/>
                <a:gd name="connsiteY9" fmla="*/ 201359 h 201358"/>
                <a:gd name="connsiteX10" fmla="*/ 47435 w 122015"/>
                <a:gd name="connsiteY10" fmla="*/ 174498 h 201358"/>
                <a:gd name="connsiteX11" fmla="*/ 74581 w 122015"/>
                <a:gd name="connsiteY11" fmla="*/ 174498 h 20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15" h="201358">
                  <a:moveTo>
                    <a:pt x="115253" y="201359"/>
                  </a:moveTo>
                  <a:cubicBezTo>
                    <a:pt x="6763" y="201359"/>
                    <a:pt x="6763" y="201359"/>
                    <a:pt x="6763" y="201359"/>
                  </a:cubicBezTo>
                  <a:cubicBezTo>
                    <a:pt x="3048" y="201359"/>
                    <a:pt x="0" y="198310"/>
                    <a:pt x="0" y="194691"/>
                  </a:cubicBezTo>
                  <a:cubicBezTo>
                    <a:pt x="0" y="6668"/>
                    <a:pt x="0" y="6668"/>
                    <a:pt x="0" y="6668"/>
                  </a:cubicBezTo>
                  <a:cubicBezTo>
                    <a:pt x="0" y="2953"/>
                    <a:pt x="3048" y="0"/>
                    <a:pt x="6763" y="0"/>
                  </a:cubicBezTo>
                  <a:cubicBezTo>
                    <a:pt x="115253" y="0"/>
                    <a:pt x="115253" y="0"/>
                    <a:pt x="115253" y="0"/>
                  </a:cubicBezTo>
                  <a:cubicBezTo>
                    <a:pt x="118967" y="0"/>
                    <a:pt x="122015" y="3048"/>
                    <a:pt x="122015" y="6668"/>
                  </a:cubicBezTo>
                  <a:cubicBezTo>
                    <a:pt x="122015" y="194691"/>
                    <a:pt x="122015" y="194691"/>
                    <a:pt x="122015" y="194691"/>
                  </a:cubicBezTo>
                  <a:cubicBezTo>
                    <a:pt x="122015" y="198310"/>
                    <a:pt x="119063" y="201359"/>
                    <a:pt x="115253" y="201359"/>
                  </a:cubicBezTo>
                  <a:lnTo>
                    <a:pt x="115253" y="201359"/>
                  </a:lnTo>
                  <a:close/>
                  <a:moveTo>
                    <a:pt x="47435" y="174498"/>
                  </a:moveTo>
                  <a:cubicBezTo>
                    <a:pt x="74581" y="174498"/>
                    <a:pt x="74581" y="174498"/>
                    <a:pt x="74581" y="17449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0" name="Freeform: Shape 69">
              <a:extLst>
                <a:ext uri="{FF2B5EF4-FFF2-40B4-BE49-F238E27FC236}">
                  <a16:creationId xmlns:a16="http://schemas.microsoft.com/office/drawing/2014/main" id="{45656745-69F9-4B0A-9B76-7E132F5A1F2B}"/>
                </a:ext>
              </a:extLst>
            </p:cNvPr>
            <p:cNvSpPr/>
            <p:nvPr/>
          </p:nvSpPr>
          <p:spPr>
            <a:xfrm>
              <a:off x="3828408" y="772561"/>
              <a:ext cx="201834" cy="155352"/>
            </a:xfrm>
            <a:custGeom>
              <a:avLst/>
              <a:gdLst>
                <a:gd name="connsiteX0" fmla="*/ 201835 w 201834"/>
                <a:gd name="connsiteY0" fmla="*/ 56483 h 155352"/>
                <a:gd name="connsiteX1" fmla="*/ 201835 w 201834"/>
                <a:gd name="connsiteY1" fmla="*/ 125444 h 155352"/>
                <a:gd name="connsiteX2" fmla="*/ 0 w 201834"/>
                <a:gd name="connsiteY2" fmla="*/ 125444 h 155352"/>
                <a:gd name="connsiteX3" fmla="*/ 0 w 201834"/>
                <a:gd name="connsiteY3" fmla="*/ 0 h 155352"/>
                <a:gd name="connsiteX4" fmla="*/ 201835 w 201834"/>
                <a:gd name="connsiteY4" fmla="*/ 0 h 155352"/>
                <a:gd name="connsiteX5" fmla="*/ 201835 w 201834"/>
                <a:gd name="connsiteY5" fmla="*/ 56483 h 155352"/>
                <a:gd name="connsiteX6" fmla="*/ 100965 w 201834"/>
                <a:gd name="connsiteY6" fmla="*/ 125444 h 155352"/>
                <a:gd name="connsiteX7" fmla="*/ 100965 w 201834"/>
                <a:gd name="connsiteY7" fmla="*/ 155353 h 155352"/>
                <a:gd name="connsiteX8" fmla="*/ 60389 w 201834"/>
                <a:gd name="connsiteY8" fmla="*/ 155353 h 155352"/>
                <a:gd name="connsiteX9" fmla="*/ 141446 w 201834"/>
                <a:gd name="connsiteY9" fmla="*/ 155353 h 15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834" h="155352">
                  <a:moveTo>
                    <a:pt x="201835" y="56483"/>
                  </a:moveTo>
                  <a:lnTo>
                    <a:pt x="201835" y="125444"/>
                  </a:lnTo>
                  <a:lnTo>
                    <a:pt x="0" y="125444"/>
                  </a:lnTo>
                  <a:lnTo>
                    <a:pt x="0" y="0"/>
                  </a:lnTo>
                  <a:lnTo>
                    <a:pt x="201835" y="0"/>
                  </a:lnTo>
                  <a:lnTo>
                    <a:pt x="201835" y="56483"/>
                  </a:lnTo>
                  <a:moveTo>
                    <a:pt x="100965" y="125444"/>
                  </a:moveTo>
                  <a:lnTo>
                    <a:pt x="100965" y="155353"/>
                  </a:lnTo>
                  <a:moveTo>
                    <a:pt x="60389" y="155353"/>
                  </a:moveTo>
                  <a:lnTo>
                    <a:pt x="141446" y="15535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1" name="Freeform: Shape 70">
              <a:extLst>
                <a:ext uri="{FF2B5EF4-FFF2-40B4-BE49-F238E27FC236}">
                  <a16:creationId xmlns:a16="http://schemas.microsoft.com/office/drawing/2014/main" id="{198B13A9-9AA0-4025-8069-1A2FD6FAB873}"/>
                </a:ext>
              </a:extLst>
            </p:cNvPr>
            <p:cNvSpPr/>
            <p:nvPr/>
          </p:nvSpPr>
          <p:spPr>
            <a:xfrm>
              <a:off x="3703345" y="501765"/>
              <a:ext cx="226028" cy="225933"/>
            </a:xfrm>
            <a:custGeom>
              <a:avLst/>
              <a:gdLst>
                <a:gd name="connsiteX0" fmla="*/ 226028 w 226028"/>
                <a:gd name="connsiteY0" fmla="*/ 225933 h 225933"/>
                <a:gd name="connsiteX1" fmla="*/ 0 w 226028"/>
                <a:gd name="connsiteY1" fmla="*/ 0 h 225933"/>
              </a:gdLst>
              <a:ahLst/>
              <a:cxnLst>
                <a:cxn ang="0">
                  <a:pos x="connsiteX0" y="connsiteY0"/>
                </a:cxn>
                <a:cxn ang="0">
                  <a:pos x="connsiteX1" y="connsiteY1"/>
                </a:cxn>
              </a:cxnLst>
              <a:rect l="l" t="t" r="r" b="b"/>
              <a:pathLst>
                <a:path w="226028" h="225933">
                  <a:moveTo>
                    <a:pt x="226028" y="225933"/>
                  </a:moveTo>
                  <a:cubicBezTo>
                    <a:pt x="188500" y="120777"/>
                    <a:pt x="105156" y="37433"/>
                    <a:pt x="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2" name="Freeform: Shape 71">
              <a:extLst>
                <a:ext uri="{FF2B5EF4-FFF2-40B4-BE49-F238E27FC236}">
                  <a16:creationId xmlns:a16="http://schemas.microsoft.com/office/drawing/2014/main" id="{8FEF6379-FF62-403F-A437-7CB60C71BED8}"/>
                </a:ext>
              </a:extLst>
            </p:cNvPr>
            <p:cNvSpPr/>
            <p:nvPr/>
          </p:nvSpPr>
          <p:spPr>
            <a:xfrm>
              <a:off x="3227000" y="501765"/>
              <a:ext cx="226028" cy="225933"/>
            </a:xfrm>
            <a:custGeom>
              <a:avLst/>
              <a:gdLst>
                <a:gd name="connsiteX0" fmla="*/ 226028 w 226028"/>
                <a:gd name="connsiteY0" fmla="*/ 0 h 225933"/>
                <a:gd name="connsiteX1" fmla="*/ 0 w 226028"/>
                <a:gd name="connsiteY1" fmla="*/ 225933 h 225933"/>
              </a:gdLst>
              <a:ahLst/>
              <a:cxnLst>
                <a:cxn ang="0">
                  <a:pos x="connsiteX0" y="connsiteY0"/>
                </a:cxn>
                <a:cxn ang="0">
                  <a:pos x="connsiteX1" y="connsiteY1"/>
                </a:cxn>
              </a:cxnLst>
              <a:rect l="l" t="t" r="r" b="b"/>
              <a:pathLst>
                <a:path w="226028" h="225933">
                  <a:moveTo>
                    <a:pt x="226028" y="0"/>
                  </a:moveTo>
                  <a:cubicBezTo>
                    <a:pt x="120872" y="37433"/>
                    <a:pt x="37528" y="120777"/>
                    <a:pt x="0" y="22593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3" name="Freeform: Shape 72">
              <a:extLst>
                <a:ext uri="{FF2B5EF4-FFF2-40B4-BE49-F238E27FC236}">
                  <a16:creationId xmlns:a16="http://schemas.microsoft.com/office/drawing/2014/main" id="{DEDD6F02-4E9D-47A7-887F-BF9321EC56C4}"/>
                </a:ext>
              </a:extLst>
            </p:cNvPr>
            <p:cNvSpPr/>
            <p:nvPr/>
          </p:nvSpPr>
          <p:spPr>
            <a:xfrm>
              <a:off x="3227000" y="978110"/>
              <a:ext cx="225932" cy="225933"/>
            </a:xfrm>
            <a:custGeom>
              <a:avLst/>
              <a:gdLst>
                <a:gd name="connsiteX0" fmla="*/ 0 w 225932"/>
                <a:gd name="connsiteY0" fmla="*/ 0 h 225933"/>
                <a:gd name="connsiteX1" fmla="*/ 225933 w 225932"/>
                <a:gd name="connsiteY1" fmla="*/ 225933 h 225933"/>
              </a:gdLst>
              <a:ahLst/>
              <a:cxnLst>
                <a:cxn ang="0">
                  <a:pos x="connsiteX0" y="connsiteY0"/>
                </a:cxn>
                <a:cxn ang="0">
                  <a:pos x="connsiteX1" y="connsiteY1"/>
                </a:cxn>
              </a:cxnLst>
              <a:rect l="l" t="t" r="r" b="b"/>
              <a:pathLst>
                <a:path w="225932" h="225933">
                  <a:moveTo>
                    <a:pt x="0" y="0"/>
                  </a:moveTo>
                  <a:cubicBezTo>
                    <a:pt x="37528" y="105156"/>
                    <a:pt x="120872" y="188500"/>
                    <a:pt x="225933" y="22593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4" name="Freeform: Shape 73">
              <a:extLst>
                <a:ext uri="{FF2B5EF4-FFF2-40B4-BE49-F238E27FC236}">
                  <a16:creationId xmlns:a16="http://schemas.microsoft.com/office/drawing/2014/main" id="{8A2BFC71-BB85-48A9-AF5D-6B08E422A27A}"/>
                </a:ext>
              </a:extLst>
            </p:cNvPr>
            <p:cNvSpPr/>
            <p:nvPr/>
          </p:nvSpPr>
          <p:spPr>
            <a:xfrm>
              <a:off x="3703345" y="978110"/>
              <a:ext cx="226028" cy="225933"/>
            </a:xfrm>
            <a:custGeom>
              <a:avLst/>
              <a:gdLst>
                <a:gd name="connsiteX0" fmla="*/ 0 w 226028"/>
                <a:gd name="connsiteY0" fmla="*/ 225933 h 225933"/>
                <a:gd name="connsiteX1" fmla="*/ 226028 w 226028"/>
                <a:gd name="connsiteY1" fmla="*/ 0 h 225933"/>
              </a:gdLst>
              <a:ahLst/>
              <a:cxnLst>
                <a:cxn ang="0">
                  <a:pos x="connsiteX0" y="connsiteY0"/>
                </a:cxn>
                <a:cxn ang="0">
                  <a:pos x="connsiteX1" y="connsiteY1"/>
                </a:cxn>
              </a:cxnLst>
              <a:rect l="l" t="t" r="r" b="b"/>
              <a:pathLst>
                <a:path w="226028" h="225933">
                  <a:moveTo>
                    <a:pt x="0" y="225933"/>
                  </a:moveTo>
                  <a:cubicBezTo>
                    <a:pt x="105156" y="188404"/>
                    <a:pt x="188500" y="105156"/>
                    <a:pt x="226028"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5" name="Freeform: Shape 74">
              <a:extLst>
                <a:ext uri="{FF2B5EF4-FFF2-40B4-BE49-F238E27FC236}">
                  <a16:creationId xmlns:a16="http://schemas.microsoft.com/office/drawing/2014/main" id="{BE545E78-82B4-477C-88D7-BA8965112D8E}"/>
                </a:ext>
              </a:extLst>
            </p:cNvPr>
            <p:cNvSpPr/>
            <p:nvPr/>
          </p:nvSpPr>
          <p:spPr>
            <a:xfrm>
              <a:off x="3087649" y="770465"/>
              <a:ext cx="242125" cy="99440"/>
            </a:xfrm>
            <a:custGeom>
              <a:avLst/>
              <a:gdLst>
                <a:gd name="connsiteX0" fmla="*/ 0 w 242125"/>
                <a:gd name="connsiteY0" fmla="*/ 0 h 99440"/>
                <a:gd name="connsiteX1" fmla="*/ 101632 w 242125"/>
                <a:gd name="connsiteY1" fmla="*/ 81058 h 99440"/>
                <a:gd name="connsiteX2" fmla="*/ 124016 w 242125"/>
                <a:gd name="connsiteY2" fmla="*/ 99441 h 99440"/>
                <a:gd name="connsiteX3" fmla="*/ 146399 w 242125"/>
                <a:gd name="connsiteY3" fmla="*/ 81058 h 99440"/>
                <a:gd name="connsiteX4" fmla="*/ 242126 w 242125"/>
                <a:gd name="connsiteY4" fmla="*/ 286 h 99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125" h="99440">
                  <a:moveTo>
                    <a:pt x="0" y="0"/>
                  </a:moveTo>
                  <a:lnTo>
                    <a:pt x="101632" y="81058"/>
                  </a:lnTo>
                  <a:lnTo>
                    <a:pt x="124016" y="99441"/>
                  </a:lnTo>
                  <a:lnTo>
                    <a:pt x="146399" y="81058"/>
                  </a:lnTo>
                  <a:lnTo>
                    <a:pt x="242126" y="286"/>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6" name="Freeform: Shape 75">
              <a:extLst>
                <a:ext uri="{FF2B5EF4-FFF2-40B4-BE49-F238E27FC236}">
                  <a16:creationId xmlns:a16="http://schemas.microsoft.com/office/drawing/2014/main" id="{6BFFC412-4B25-42E3-9434-49411A454719}"/>
                </a:ext>
              </a:extLst>
            </p:cNvPr>
            <p:cNvSpPr/>
            <p:nvPr/>
          </p:nvSpPr>
          <p:spPr>
            <a:xfrm>
              <a:off x="3087649" y="850190"/>
              <a:ext cx="97155" cy="84582"/>
            </a:xfrm>
            <a:custGeom>
              <a:avLst/>
              <a:gdLst>
                <a:gd name="connsiteX0" fmla="*/ 97155 w 97155"/>
                <a:gd name="connsiteY0" fmla="*/ 0 h 84582"/>
                <a:gd name="connsiteX1" fmla="*/ 0 w 97155"/>
                <a:gd name="connsiteY1" fmla="*/ 84582 h 84582"/>
              </a:gdLst>
              <a:ahLst/>
              <a:cxnLst>
                <a:cxn ang="0">
                  <a:pos x="connsiteX0" y="connsiteY0"/>
                </a:cxn>
                <a:cxn ang="0">
                  <a:pos x="connsiteX1" y="connsiteY1"/>
                </a:cxn>
              </a:cxnLst>
              <a:rect l="l" t="t" r="r" b="b"/>
              <a:pathLst>
                <a:path w="97155" h="84582">
                  <a:moveTo>
                    <a:pt x="97155" y="0"/>
                  </a:moveTo>
                  <a:lnTo>
                    <a:pt x="0" y="84582"/>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7" name="Freeform: Shape 76">
              <a:extLst>
                <a:ext uri="{FF2B5EF4-FFF2-40B4-BE49-F238E27FC236}">
                  <a16:creationId xmlns:a16="http://schemas.microsoft.com/office/drawing/2014/main" id="{4A8024AE-6558-450C-8360-7AA3B73B915D}"/>
                </a:ext>
              </a:extLst>
            </p:cNvPr>
            <p:cNvSpPr/>
            <p:nvPr/>
          </p:nvSpPr>
          <p:spPr>
            <a:xfrm>
              <a:off x="3232715" y="850190"/>
              <a:ext cx="97059" cy="84582"/>
            </a:xfrm>
            <a:custGeom>
              <a:avLst/>
              <a:gdLst>
                <a:gd name="connsiteX0" fmla="*/ 0 w 97059"/>
                <a:gd name="connsiteY0" fmla="*/ 0 h 84582"/>
                <a:gd name="connsiteX1" fmla="*/ 97060 w 97059"/>
                <a:gd name="connsiteY1" fmla="*/ 84582 h 84582"/>
              </a:gdLst>
              <a:ahLst/>
              <a:cxnLst>
                <a:cxn ang="0">
                  <a:pos x="connsiteX0" y="connsiteY0"/>
                </a:cxn>
                <a:cxn ang="0">
                  <a:pos x="connsiteX1" y="connsiteY1"/>
                </a:cxn>
              </a:cxnLst>
              <a:rect l="l" t="t" r="r" b="b"/>
              <a:pathLst>
                <a:path w="97059" h="84582">
                  <a:moveTo>
                    <a:pt x="0" y="0"/>
                  </a:moveTo>
                  <a:lnTo>
                    <a:pt x="97060" y="84582"/>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8" name="Freeform: Shape 77">
              <a:extLst>
                <a:ext uri="{FF2B5EF4-FFF2-40B4-BE49-F238E27FC236}">
                  <a16:creationId xmlns:a16="http://schemas.microsoft.com/office/drawing/2014/main" id="{B0AF1C79-03DF-4C82-B69A-0C92C516B9BE}"/>
                </a:ext>
              </a:extLst>
            </p:cNvPr>
            <p:cNvSpPr/>
            <p:nvPr/>
          </p:nvSpPr>
          <p:spPr>
            <a:xfrm>
              <a:off x="3081076" y="765226"/>
              <a:ext cx="255365" cy="175355"/>
            </a:xfrm>
            <a:custGeom>
              <a:avLst/>
              <a:gdLst>
                <a:gd name="connsiteX0" fmla="*/ 21050 w 255365"/>
                <a:gd name="connsiteY0" fmla="*/ 175355 h 175355"/>
                <a:gd name="connsiteX1" fmla="*/ 234315 w 255365"/>
                <a:gd name="connsiteY1" fmla="*/ 175355 h 175355"/>
                <a:gd name="connsiteX2" fmla="*/ 255365 w 255365"/>
                <a:gd name="connsiteY2" fmla="*/ 154305 h 175355"/>
                <a:gd name="connsiteX3" fmla="*/ 255365 w 255365"/>
                <a:gd name="connsiteY3" fmla="*/ 21050 h 175355"/>
                <a:gd name="connsiteX4" fmla="*/ 234315 w 255365"/>
                <a:gd name="connsiteY4" fmla="*/ 0 h 175355"/>
                <a:gd name="connsiteX5" fmla="*/ 21050 w 255365"/>
                <a:gd name="connsiteY5" fmla="*/ 0 h 175355"/>
                <a:gd name="connsiteX6" fmla="*/ 0 w 255365"/>
                <a:gd name="connsiteY6" fmla="*/ 21050 h 175355"/>
                <a:gd name="connsiteX7" fmla="*/ 0 w 255365"/>
                <a:gd name="connsiteY7" fmla="*/ 154305 h 175355"/>
                <a:gd name="connsiteX8" fmla="*/ 21050 w 255365"/>
                <a:gd name="connsiteY8" fmla="*/ 175355 h 17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365" h="175355">
                  <a:moveTo>
                    <a:pt x="21050" y="175355"/>
                  </a:moveTo>
                  <a:lnTo>
                    <a:pt x="234315" y="175355"/>
                  </a:lnTo>
                  <a:cubicBezTo>
                    <a:pt x="245936" y="175355"/>
                    <a:pt x="255365" y="165926"/>
                    <a:pt x="255365" y="154305"/>
                  </a:cubicBezTo>
                  <a:lnTo>
                    <a:pt x="255365" y="21050"/>
                  </a:lnTo>
                  <a:cubicBezTo>
                    <a:pt x="255365" y="9430"/>
                    <a:pt x="245936" y="0"/>
                    <a:pt x="234315" y="0"/>
                  </a:cubicBezTo>
                  <a:lnTo>
                    <a:pt x="21050" y="0"/>
                  </a:lnTo>
                  <a:cubicBezTo>
                    <a:pt x="9430" y="0"/>
                    <a:pt x="0" y="9430"/>
                    <a:pt x="0" y="21050"/>
                  </a:cubicBezTo>
                  <a:lnTo>
                    <a:pt x="0" y="154305"/>
                  </a:lnTo>
                  <a:cubicBezTo>
                    <a:pt x="0" y="165926"/>
                    <a:pt x="9430" y="175355"/>
                    <a:pt x="21050" y="17535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79" name="Freeform: Shape 78">
              <a:extLst>
                <a:ext uri="{FF2B5EF4-FFF2-40B4-BE49-F238E27FC236}">
                  <a16:creationId xmlns:a16="http://schemas.microsoft.com/office/drawing/2014/main" id="{1A0C50C7-5485-4411-8EA8-0F48B64B0230}"/>
                </a:ext>
              </a:extLst>
            </p:cNvPr>
            <p:cNvSpPr/>
            <p:nvPr/>
          </p:nvSpPr>
          <p:spPr>
            <a:xfrm>
              <a:off x="3486746" y="1106317"/>
              <a:ext cx="182879" cy="216693"/>
            </a:xfrm>
            <a:custGeom>
              <a:avLst/>
              <a:gdLst>
                <a:gd name="connsiteX0" fmla="*/ 0 w 182879"/>
                <a:gd name="connsiteY0" fmla="*/ 52673 h 216693"/>
                <a:gd name="connsiteX1" fmla="*/ 0 w 182879"/>
                <a:gd name="connsiteY1" fmla="*/ 163830 h 216693"/>
                <a:gd name="connsiteX2" fmla="*/ 91440 w 182879"/>
                <a:gd name="connsiteY2" fmla="*/ 216694 h 216693"/>
                <a:gd name="connsiteX3" fmla="*/ 182880 w 182879"/>
                <a:gd name="connsiteY3" fmla="*/ 163830 h 216693"/>
                <a:gd name="connsiteX4" fmla="*/ 182880 w 182879"/>
                <a:gd name="connsiteY4" fmla="*/ 52673 h 216693"/>
                <a:gd name="connsiteX5" fmla="*/ 91440 w 182879"/>
                <a:gd name="connsiteY5" fmla="*/ 0 h 2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79" h="216693">
                  <a:moveTo>
                    <a:pt x="0" y="52673"/>
                  </a:moveTo>
                  <a:lnTo>
                    <a:pt x="0" y="163830"/>
                  </a:lnTo>
                  <a:lnTo>
                    <a:pt x="91440" y="216694"/>
                  </a:lnTo>
                  <a:lnTo>
                    <a:pt x="182880" y="163830"/>
                  </a:lnTo>
                  <a:lnTo>
                    <a:pt x="182880" y="52673"/>
                  </a:lnTo>
                  <a:lnTo>
                    <a:pt x="91440" y="0"/>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80" name="Freeform: Shape 79">
              <a:extLst>
                <a:ext uri="{FF2B5EF4-FFF2-40B4-BE49-F238E27FC236}">
                  <a16:creationId xmlns:a16="http://schemas.microsoft.com/office/drawing/2014/main" id="{DCDCC419-1DD3-480C-B4A2-FBFB8579907B}"/>
                </a:ext>
              </a:extLst>
            </p:cNvPr>
            <p:cNvSpPr/>
            <p:nvPr/>
          </p:nvSpPr>
          <p:spPr>
            <a:xfrm>
              <a:off x="3578186" y="1210901"/>
              <a:ext cx="9525" cy="112109"/>
            </a:xfrm>
            <a:custGeom>
              <a:avLst/>
              <a:gdLst>
                <a:gd name="connsiteX0" fmla="*/ 0 w 9525"/>
                <a:gd name="connsiteY0" fmla="*/ 0 h 112109"/>
                <a:gd name="connsiteX1" fmla="*/ 0 w 9525"/>
                <a:gd name="connsiteY1" fmla="*/ 112109 h 112109"/>
              </a:gdLst>
              <a:ahLst/>
              <a:cxnLst>
                <a:cxn ang="0">
                  <a:pos x="connsiteX0" y="connsiteY0"/>
                </a:cxn>
                <a:cxn ang="0">
                  <a:pos x="connsiteX1" y="connsiteY1"/>
                </a:cxn>
              </a:cxnLst>
              <a:rect l="l" t="t" r="r" b="b"/>
              <a:pathLst>
                <a:path w="9525" h="112109">
                  <a:moveTo>
                    <a:pt x="0" y="0"/>
                  </a:moveTo>
                  <a:lnTo>
                    <a:pt x="0" y="112109"/>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sp>
          <p:nvSpPr>
            <p:cNvPr id="81" name="Freeform: Shape 80">
              <a:extLst>
                <a:ext uri="{FF2B5EF4-FFF2-40B4-BE49-F238E27FC236}">
                  <a16:creationId xmlns:a16="http://schemas.microsoft.com/office/drawing/2014/main" id="{EB4D4AE1-B2D9-41BF-8D46-713F3EFEA90A}"/>
                </a:ext>
              </a:extLst>
            </p:cNvPr>
            <p:cNvSpPr/>
            <p:nvPr/>
          </p:nvSpPr>
          <p:spPr>
            <a:xfrm>
              <a:off x="3486746" y="1158990"/>
              <a:ext cx="182879" cy="51911"/>
            </a:xfrm>
            <a:custGeom>
              <a:avLst/>
              <a:gdLst>
                <a:gd name="connsiteX0" fmla="*/ 0 w 182879"/>
                <a:gd name="connsiteY0" fmla="*/ 0 h 51911"/>
                <a:gd name="connsiteX1" fmla="*/ 91440 w 182879"/>
                <a:gd name="connsiteY1" fmla="*/ 51911 h 51911"/>
                <a:gd name="connsiteX2" fmla="*/ 182880 w 182879"/>
                <a:gd name="connsiteY2" fmla="*/ 0 h 51911"/>
              </a:gdLst>
              <a:ahLst/>
              <a:cxnLst>
                <a:cxn ang="0">
                  <a:pos x="connsiteX0" y="connsiteY0"/>
                </a:cxn>
                <a:cxn ang="0">
                  <a:pos x="connsiteX1" y="connsiteY1"/>
                </a:cxn>
                <a:cxn ang="0">
                  <a:pos x="connsiteX2" y="connsiteY2"/>
                </a:cxn>
              </a:cxnLst>
              <a:rect l="l" t="t" r="r" b="b"/>
              <a:pathLst>
                <a:path w="182879" h="51911">
                  <a:moveTo>
                    <a:pt x="0" y="0"/>
                  </a:moveTo>
                  <a:lnTo>
                    <a:pt x="91440" y="51911"/>
                  </a:lnTo>
                  <a:lnTo>
                    <a:pt x="18288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32563"/>
              <a:endParaRPr lang="en-US">
                <a:solidFill>
                  <a:srgbClr val="3C3C41"/>
                </a:solidFill>
                <a:latin typeface="Segoe UI"/>
              </a:endParaRPr>
            </a:p>
          </p:txBody>
        </p:sp>
      </p:grpSp>
      <p:sp>
        <p:nvSpPr>
          <p:cNvPr id="82" name="Graphic 675">
            <a:extLst>
              <a:ext uri="{FF2B5EF4-FFF2-40B4-BE49-F238E27FC236}">
                <a16:creationId xmlns:a16="http://schemas.microsoft.com/office/drawing/2014/main" id="{91CB382F-677A-4DB0-9763-FED8DF51431C}"/>
              </a:ext>
            </a:extLst>
          </p:cNvPr>
          <p:cNvSpPr/>
          <p:nvPr/>
        </p:nvSpPr>
        <p:spPr>
          <a:xfrm>
            <a:off x="6818477" y="4075896"/>
            <a:ext cx="430970" cy="438937"/>
          </a:xfrm>
          <a:custGeom>
            <a:avLst/>
            <a:gdLst>
              <a:gd name="connsiteX0" fmla="*/ 431031 w 431031"/>
              <a:gd name="connsiteY0" fmla="*/ 277886 h 438999"/>
              <a:gd name="connsiteX1" fmla="*/ 161036 w 431031"/>
              <a:gd name="connsiteY1" fmla="*/ 431031 h 438999"/>
              <a:gd name="connsiteX2" fmla="*/ 8025 w 431031"/>
              <a:gd name="connsiteY2" fmla="*/ 161036 h 438999"/>
              <a:gd name="connsiteX3" fmla="*/ 277886 w 431031"/>
              <a:gd name="connsiteY3" fmla="*/ 8025 h 438999"/>
              <a:gd name="connsiteX4" fmla="*/ 393791 w 431031"/>
              <a:gd name="connsiteY4" fmla="*/ 86285 h 438999"/>
              <a:gd name="connsiteX5" fmla="*/ 339279 w 431031"/>
              <a:gd name="connsiteY5" fmla="*/ 89658 h 438999"/>
              <a:gd name="connsiteX6" fmla="*/ 397839 w 431031"/>
              <a:gd name="connsiteY6" fmla="*/ 89388 h 438999"/>
              <a:gd name="connsiteX7" fmla="*/ 399053 w 431031"/>
              <a:gd name="connsiteY7" fmla="*/ 30963 h 438999"/>
              <a:gd name="connsiteX8" fmla="*/ 219461 w 431031"/>
              <a:gd name="connsiteY8" fmla="*/ 226477 h 438999"/>
              <a:gd name="connsiteX9" fmla="*/ 176283 w 431031"/>
              <a:gd name="connsiteY9" fmla="*/ 183839 h 438999"/>
              <a:gd name="connsiteX10" fmla="*/ 219461 w 431031"/>
              <a:gd name="connsiteY10" fmla="*/ 140392 h 438999"/>
              <a:gd name="connsiteX11" fmla="*/ 262638 w 431031"/>
              <a:gd name="connsiteY11" fmla="*/ 183839 h 438999"/>
              <a:gd name="connsiteX12" fmla="*/ 219461 w 431031"/>
              <a:gd name="connsiteY12" fmla="*/ 226477 h 438999"/>
              <a:gd name="connsiteX13" fmla="*/ 219461 w 431031"/>
              <a:gd name="connsiteY13" fmla="*/ 226477 h 438999"/>
              <a:gd name="connsiteX14" fmla="*/ 288275 w 431031"/>
              <a:gd name="connsiteY14" fmla="*/ 297046 h 438999"/>
              <a:gd name="connsiteX15" fmla="*/ 149432 w 431031"/>
              <a:gd name="connsiteY15" fmla="*/ 297046 h 438999"/>
              <a:gd name="connsiteX16" fmla="*/ 218786 w 431031"/>
              <a:gd name="connsiteY16" fmla="*/ 226477 h 438999"/>
              <a:gd name="connsiteX17" fmla="*/ 288140 w 431031"/>
              <a:gd name="connsiteY17" fmla="*/ 297046 h 438999"/>
              <a:gd name="connsiteX18" fmla="*/ 328349 w 431031"/>
              <a:gd name="connsiteY18" fmla="*/ 220540 h 438999"/>
              <a:gd name="connsiteX19" fmla="*/ 287735 w 431031"/>
              <a:gd name="connsiteY19" fmla="*/ 180466 h 438999"/>
              <a:gd name="connsiteX20" fmla="*/ 328349 w 431031"/>
              <a:gd name="connsiteY20" fmla="*/ 139582 h 438999"/>
              <a:gd name="connsiteX21" fmla="*/ 368964 w 431031"/>
              <a:gd name="connsiteY21" fmla="*/ 180466 h 438999"/>
              <a:gd name="connsiteX22" fmla="*/ 328349 w 431031"/>
              <a:gd name="connsiteY22" fmla="*/ 220540 h 438999"/>
              <a:gd name="connsiteX23" fmla="*/ 328349 w 431031"/>
              <a:gd name="connsiteY23" fmla="*/ 220540 h 438999"/>
              <a:gd name="connsiteX24" fmla="*/ 274377 w 431031"/>
              <a:gd name="connsiteY24" fmla="*/ 248606 h 438999"/>
              <a:gd name="connsiteX25" fmla="*/ 327540 w 431031"/>
              <a:gd name="connsiteY25" fmla="*/ 220675 h 438999"/>
              <a:gd name="connsiteX26" fmla="*/ 392711 w 431031"/>
              <a:gd name="connsiteY26" fmla="*/ 287061 h 438999"/>
              <a:gd name="connsiteX27" fmla="*/ 289355 w 431031"/>
              <a:gd name="connsiteY27" fmla="*/ 287061 h 438999"/>
              <a:gd name="connsiteX28" fmla="*/ 110167 w 431031"/>
              <a:gd name="connsiteY28" fmla="*/ 220540 h 438999"/>
              <a:gd name="connsiteX29" fmla="*/ 69553 w 431031"/>
              <a:gd name="connsiteY29" fmla="*/ 180466 h 438999"/>
              <a:gd name="connsiteX30" fmla="*/ 110167 w 431031"/>
              <a:gd name="connsiteY30" fmla="*/ 139582 h 438999"/>
              <a:gd name="connsiteX31" fmla="*/ 150781 w 431031"/>
              <a:gd name="connsiteY31" fmla="*/ 180466 h 438999"/>
              <a:gd name="connsiteX32" fmla="*/ 110167 w 431031"/>
              <a:gd name="connsiteY32" fmla="*/ 220540 h 438999"/>
              <a:gd name="connsiteX33" fmla="*/ 110167 w 431031"/>
              <a:gd name="connsiteY33" fmla="*/ 220540 h 438999"/>
              <a:gd name="connsiteX34" fmla="*/ 149432 w 431031"/>
              <a:gd name="connsiteY34" fmla="*/ 286926 h 438999"/>
              <a:gd name="connsiteX35" fmla="*/ 44321 w 431031"/>
              <a:gd name="connsiteY35" fmla="*/ 286926 h 438999"/>
              <a:gd name="connsiteX36" fmla="*/ 109493 w 431031"/>
              <a:gd name="connsiteY36" fmla="*/ 220540 h 438999"/>
              <a:gd name="connsiteX37" fmla="*/ 163195 w 431031"/>
              <a:gd name="connsiteY37" fmla="*/ 249280 h 43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1031" h="438999">
                <a:moveTo>
                  <a:pt x="431031" y="277886"/>
                </a:moveTo>
                <a:cubicBezTo>
                  <a:pt x="398783" y="394735"/>
                  <a:pt x="277886" y="463280"/>
                  <a:pt x="161036" y="431031"/>
                </a:cubicBezTo>
                <a:cubicBezTo>
                  <a:pt x="44186" y="398783"/>
                  <a:pt x="-24358" y="277886"/>
                  <a:pt x="8025" y="161036"/>
                </a:cubicBezTo>
                <a:cubicBezTo>
                  <a:pt x="40408" y="44186"/>
                  <a:pt x="161036" y="-24358"/>
                  <a:pt x="277886" y="8025"/>
                </a:cubicBezTo>
                <a:cubicBezTo>
                  <a:pt x="325921" y="21248"/>
                  <a:pt x="365725" y="49583"/>
                  <a:pt x="393791" y="86285"/>
                </a:cubicBezTo>
                <a:moveTo>
                  <a:pt x="339279" y="89658"/>
                </a:moveTo>
                <a:cubicBezTo>
                  <a:pt x="339279" y="89658"/>
                  <a:pt x="339279" y="89658"/>
                  <a:pt x="397839" y="89388"/>
                </a:cubicBezTo>
                <a:cubicBezTo>
                  <a:pt x="397839" y="89388"/>
                  <a:pt x="397839" y="89388"/>
                  <a:pt x="399053" y="30963"/>
                </a:cubicBezTo>
                <a:moveTo>
                  <a:pt x="219461" y="226477"/>
                </a:moveTo>
                <a:cubicBezTo>
                  <a:pt x="195578" y="226477"/>
                  <a:pt x="176283" y="207047"/>
                  <a:pt x="176283" y="183839"/>
                </a:cubicBezTo>
                <a:cubicBezTo>
                  <a:pt x="176283" y="159822"/>
                  <a:pt x="195578" y="140392"/>
                  <a:pt x="219461" y="140392"/>
                </a:cubicBezTo>
                <a:cubicBezTo>
                  <a:pt x="243343" y="140392"/>
                  <a:pt x="262638" y="159822"/>
                  <a:pt x="262638" y="183839"/>
                </a:cubicBezTo>
                <a:cubicBezTo>
                  <a:pt x="262638" y="207047"/>
                  <a:pt x="243343" y="226477"/>
                  <a:pt x="219461" y="226477"/>
                </a:cubicBezTo>
                <a:lnTo>
                  <a:pt x="219461" y="226477"/>
                </a:lnTo>
                <a:close/>
                <a:moveTo>
                  <a:pt x="288275" y="297046"/>
                </a:moveTo>
                <a:lnTo>
                  <a:pt x="149432" y="297046"/>
                </a:lnTo>
                <a:cubicBezTo>
                  <a:pt x="149432" y="258321"/>
                  <a:pt x="180196" y="226477"/>
                  <a:pt x="218786" y="226477"/>
                </a:cubicBezTo>
                <a:cubicBezTo>
                  <a:pt x="257241" y="226477"/>
                  <a:pt x="288140" y="258321"/>
                  <a:pt x="288140" y="297046"/>
                </a:cubicBezTo>
                <a:moveTo>
                  <a:pt x="328349" y="220540"/>
                </a:moveTo>
                <a:cubicBezTo>
                  <a:pt x="305951" y="220540"/>
                  <a:pt x="287735" y="202325"/>
                  <a:pt x="287735" y="180466"/>
                </a:cubicBezTo>
                <a:cubicBezTo>
                  <a:pt x="287735" y="157933"/>
                  <a:pt x="305816" y="139582"/>
                  <a:pt x="328349" y="139582"/>
                </a:cubicBezTo>
                <a:cubicBezTo>
                  <a:pt x="350748" y="139582"/>
                  <a:pt x="368964" y="157798"/>
                  <a:pt x="368964" y="180466"/>
                </a:cubicBezTo>
                <a:cubicBezTo>
                  <a:pt x="368829" y="202325"/>
                  <a:pt x="350748" y="220540"/>
                  <a:pt x="328349" y="220540"/>
                </a:cubicBezTo>
                <a:lnTo>
                  <a:pt x="328349" y="220540"/>
                </a:lnTo>
                <a:close/>
                <a:moveTo>
                  <a:pt x="274377" y="248606"/>
                </a:moveTo>
                <a:cubicBezTo>
                  <a:pt x="286116" y="231739"/>
                  <a:pt x="305546" y="220675"/>
                  <a:pt x="327540" y="220675"/>
                </a:cubicBezTo>
                <a:cubicBezTo>
                  <a:pt x="363701" y="220675"/>
                  <a:pt x="392711" y="250630"/>
                  <a:pt x="392711" y="287061"/>
                </a:cubicBezTo>
                <a:lnTo>
                  <a:pt x="289355" y="287061"/>
                </a:lnTo>
                <a:moveTo>
                  <a:pt x="110167" y="220540"/>
                </a:moveTo>
                <a:cubicBezTo>
                  <a:pt x="87769" y="220540"/>
                  <a:pt x="69553" y="202325"/>
                  <a:pt x="69553" y="180466"/>
                </a:cubicBezTo>
                <a:cubicBezTo>
                  <a:pt x="69553" y="157933"/>
                  <a:pt x="87634" y="139582"/>
                  <a:pt x="110167" y="139582"/>
                </a:cubicBezTo>
                <a:cubicBezTo>
                  <a:pt x="132701" y="139582"/>
                  <a:pt x="150781" y="157798"/>
                  <a:pt x="150781" y="180466"/>
                </a:cubicBezTo>
                <a:cubicBezTo>
                  <a:pt x="150781" y="202325"/>
                  <a:pt x="132566" y="220540"/>
                  <a:pt x="110167" y="220540"/>
                </a:cubicBezTo>
                <a:lnTo>
                  <a:pt x="110167" y="220540"/>
                </a:lnTo>
                <a:close/>
                <a:moveTo>
                  <a:pt x="149432" y="286926"/>
                </a:moveTo>
                <a:lnTo>
                  <a:pt x="44321" y="286926"/>
                </a:lnTo>
                <a:cubicBezTo>
                  <a:pt x="44321" y="250495"/>
                  <a:pt x="73331" y="220540"/>
                  <a:pt x="109493" y="220540"/>
                </a:cubicBezTo>
                <a:cubicBezTo>
                  <a:pt x="131891" y="220540"/>
                  <a:pt x="151456" y="232009"/>
                  <a:pt x="163195" y="24928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defTabSz="932563"/>
            <a:endParaRPr lang="en-US">
              <a:solidFill>
                <a:srgbClr val="3C3C41"/>
              </a:solidFill>
              <a:latin typeface="Segoe UI"/>
            </a:endParaRPr>
          </a:p>
        </p:txBody>
      </p:sp>
      <p:grpSp>
        <p:nvGrpSpPr>
          <p:cNvPr id="83" name="Group 82">
            <a:extLst>
              <a:ext uri="{FF2B5EF4-FFF2-40B4-BE49-F238E27FC236}">
                <a16:creationId xmlns:a16="http://schemas.microsoft.com/office/drawing/2014/main" id="{0A17B3A7-784C-4891-8085-DEF015EE32E2}"/>
              </a:ext>
            </a:extLst>
          </p:cNvPr>
          <p:cNvGrpSpPr/>
          <p:nvPr/>
        </p:nvGrpSpPr>
        <p:grpSpPr>
          <a:xfrm>
            <a:off x="6752825" y="5204381"/>
            <a:ext cx="473981" cy="476228"/>
            <a:chOff x="7992532" y="5501597"/>
            <a:chExt cx="474048" cy="476296"/>
          </a:xfrm>
        </p:grpSpPr>
        <p:sp>
          <p:nvSpPr>
            <p:cNvPr id="84" name="Warning_E7BA" title="Icon of a triangle with an exclaimation point inside">
              <a:extLst>
                <a:ext uri="{FF2B5EF4-FFF2-40B4-BE49-F238E27FC236}">
                  <a16:creationId xmlns:a16="http://schemas.microsoft.com/office/drawing/2014/main" id="{4F43E3D0-9B46-4D22-A925-2D0708DB52AD}"/>
                </a:ext>
              </a:extLst>
            </p:cNvPr>
            <p:cNvSpPr>
              <a:spLocks noChangeAspect="1" noEditPoints="1"/>
            </p:cNvSpPr>
            <p:nvPr/>
          </p:nvSpPr>
          <p:spPr bwMode="auto">
            <a:xfrm>
              <a:off x="8143627" y="5653772"/>
              <a:ext cx="171859" cy="171946"/>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lin ang="5400000" scaled="1"/>
                </a:gradFill>
                <a:latin typeface="Segoe UI"/>
              </a:endParaRPr>
            </a:p>
          </p:txBody>
        </p:sp>
        <p:sp>
          <p:nvSpPr>
            <p:cNvPr id="85" name="Freeform: Shape 84">
              <a:extLst>
                <a:ext uri="{FF2B5EF4-FFF2-40B4-BE49-F238E27FC236}">
                  <a16:creationId xmlns:a16="http://schemas.microsoft.com/office/drawing/2014/main" id="{A016978A-8993-4493-827E-31FC34994319}"/>
                </a:ext>
              </a:extLst>
            </p:cNvPr>
            <p:cNvSpPr/>
            <p:nvPr/>
          </p:nvSpPr>
          <p:spPr>
            <a:xfrm>
              <a:off x="7992532" y="5501597"/>
              <a:ext cx="474048" cy="476296"/>
            </a:xfrm>
            <a:custGeom>
              <a:avLst/>
              <a:gdLst>
                <a:gd name="connsiteX0" fmla="*/ 623221 w 642746"/>
                <a:gd name="connsiteY0" fmla="*/ 269653 h 645794"/>
                <a:gd name="connsiteX1" fmla="*/ 564642 w 642746"/>
                <a:gd name="connsiteY1" fmla="*/ 259271 h 645794"/>
                <a:gd name="connsiteX2" fmla="*/ 538258 w 642746"/>
                <a:gd name="connsiteY2" fmla="*/ 194501 h 645794"/>
                <a:gd name="connsiteX3" fmla="*/ 573881 w 642746"/>
                <a:gd name="connsiteY3" fmla="*/ 144780 h 645794"/>
                <a:gd name="connsiteX4" fmla="*/ 571595 w 642746"/>
                <a:gd name="connsiteY4" fmla="*/ 114681 h 645794"/>
                <a:gd name="connsiteX5" fmla="*/ 548640 w 642746"/>
                <a:gd name="connsiteY5" fmla="*/ 93821 h 645794"/>
                <a:gd name="connsiteX6" fmla="*/ 527971 w 642746"/>
                <a:gd name="connsiteY6" fmla="*/ 72962 h 645794"/>
                <a:gd name="connsiteX7" fmla="*/ 498158 w 642746"/>
                <a:gd name="connsiteY7" fmla="*/ 70676 h 645794"/>
                <a:gd name="connsiteX8" fmla="*/ 448818 w 642746"/>
                <a:gd name="connsiteY8" fmla="*/ 106585 h 645794"/>
                <a:gd name="connsiteX9" fmla="*/ 384524 w 642746"/>
                <a:gd name="connsiteY9" fmla="*/ 80010 h 645794"/>
                <a:gd name="connsiteX10" fmla="*/ 374237 w 642746"/>
                <a:gd name="connsiteY10" fmla="*/ 19717 h 645794"/>
                <a:gd name="connsiteX11" fmla="*/ 351282 w 642746"/>
                <a:gd name="connsiteY11" fmla="*/ 0 h 645794"/>
                <a:gd name="connsiteX12" fmla="*/ 321469 w 642746"/>
                <a:gd name="connsiteY12" fmla="*/ 0 h 645794"/>
                <a:gd name="connsiteX13" fmla="*/ 291656 w 642746"/>
                <a:gd name="connsiteY13" fmla="*/ 0 h 645794"/>
                <a:gd name="connsiteX14" fmla="*/ 268700 w 642746"/>
                <a:gd name="connsiteY14" fmla="*/ 19717 h 645794"/>
                <a:gd name="connsiteX15" fmla="*/ 258318 w 642746"/>
                <a:gd name="connsiteY15" fmla="*/ 79915 h 645794"/>
                <a:gd name="connsiteX16" fmla="*/ 192881 w 642746"/>
                <a:gd name="connsiteY16" fmla="*/ 107728 h 645794"/>
                <a:gd name="connsiteX17" fmla="*/ 143542 w 642746"/>
                <a:gd name="connsiteY17" fmla="*/ 72962 h 645794"/>
                <a:gd name="connsiteX18" fmla="*/ 113729 w 642746"/>
                <a:gd name="connsiteY18" fmla="*/ 75248 h 645794"/>
                <a:gd name="connsiteX19" fmla="*/ 94202 w 642746"/>
                <a:gd name="connsiteY19" fmla="*/ 96107 h 645794"/>
                <a:gd name="connsiteX20" fmla="*/ 73533 w 642746"/>
                <a:gd name="connsiteY20" fmla="*/ 116967 h 645794"/>
                <a:gd name="connsiteX21" fmla="*/ 71247 w 642746"/>
                <a:gd name="connsiteY21" fmla="*/ 147066 h 645794"/>
                <a:gd name="connsiteX22" fmla="*/ 105632 w 642746"/>
                <a:gd name="connsiteY22" fmla="*/ 198025 h 645794"/>
                <a:gd name="connsiteX23" fmla="*/ 79248 w 642746"/>
                <a:gd name="connsiteY23" fmla="*/ 262795 h 645794"/>
                <a:gd name="connsiteX24" fmla="*/ 19526 w 642746"/>
                <a:gd name="connsiteY24" fmla="*/ 272034 h 645794"/>
                <a:gd name="connsiteX25" fmla="*/ 0 w 642746"/>
                <a:gd name="connsiteY25" fmla="*/ 295180 h 645794"/>
                <a:gd name="connsiteX26" fmla="*/ 0 w 642746"/>
                <a:gd name="connsiteY26" fmla="*/ 325279 h 645794"/>
                <a:gd name="connsiteX27" fmla="*/ 0 w 642746"/>
                <a:gd name="connsiteY27" fmla="*/ 355378 h 645794"/>
                <a:gd name="connsiteX28" fmla="*/ 19526 w 642746"/>
                <a:gd name="connsiteY28" fmla="*/ 378524 h 645794"/>
                <a:gd name="connsiteX29" fmla="*/ 79248 w 642746"/>
                <a:gd name="connsiteY29" fmla="*/ 388906 h 645794"/>
                <a:gd name="connsiteX30" fmla="*/ 106775 w 642746"/>
                <a:gd name="connsiteY30" fmla="*/ 453676 h 645794"/>
                <a:gd name="connsiteX31" fmla="*/ 72390 w 642746"/>
                <a:gd name="connsiteY31" fmla="*/ 503396 h 645794"/>
                <a:gd name="connsiteX32" fmla="*/ 75819 w 642746"/>
                <a:gd name="connsiteY32" fmla="*/ 531209 h 645794"/>
                <a:gd name="connsiteX33" fmla="*/ 96488 w 642746"/>
                <a:gd name="connsiteY33" fmla="*/ 552069 h 645794"/>
                <a:gd name="connsiteX34" fmla="*/ 117158 w 642746"/>
                <a:gd name="connsiteY34" fmla="*/ 572929 h 645794"/>
                <a:gd name="connsiteX35" fmla="*/ 146971 w 642746"/>
                <a:gd name="connsiteY35" fmla="*/ 575215 h 645794"/>
                <a:gd name="connsiteX36" fmla="*/ 196310 w 642746"/>
                <a:gd name="connsiteY36" fmla="*/ 539306 h 645794"/>
                <a:gd name="connsiteX37" fmla="*/ 260604 w 642746"/>
                <a:gd name="connsiteY37" fmla="*/ 565880 h 645794"/>
                <a:gd name="connsiteX38" fmla="*/ 270891 w 642746"/>
                <a:gd name="connsiteY38" fmla="*/ 626078 h 645794"/>
                <a:gd name="connsiteX39" fmla="*/ 293846 w 642746"/>
                <a:gd name="connsiteY39" fmla="*/ 645795 h 645794"/>
                <a:gd name="connsiteX40" fmla="*/ 323660 w 642746"/>
                <a:gd name="connsiteY40" fmla="*/ 645795 h 645794"/>
                <a:gd name="connsiteX41" fmla="*/ 353473 w 642746"/>
                <a:gd name="connsiteY41" fmla="*/ 645795 h 645794"/>
                <a:gd name="connsiteX42" fmla="*/ 376428 w 642746"/>
                <a:gd name="connsiteY42" fmla="*/ 626078 h 645794"/>
                <a:gd name="connsiteX43" fmla="*/ 386715 w 642746"/>
                <a:gd name="connsiteY43" fmla="*/ 565880 h 645794"/>
                <a:gd name="connsiteX44" fmla="*/ 449866 w 642746"/>
                <a:gd name="connsiteY44" fmla="*/ 539306 h 645794"/>
                <a:gd name="connsiteX45" fmla="*/ 499205 w 642746"/>
                <a:gd name="connsiteY45" fmla="*/ 575215 h 645794"/>
                <a:gd name="connsiteX46" fmla="*/ 529019 w 642746"/>
                <a:gd name="connsiteY46" fmla="*/ 572929 h 645794"/>
                <a:gd name="connsiteX47" fmla="*/ 549688 w 642746"/>
                <a:gd name="connsiteY47" fmla="*/ 552069 h 645794"/>
                <a:gd name="connsiteX48" fmla="*/ 570357 w 642746"/>
                <a:gd name="connsiteY48" fmla="*/ 531209 h 645794"/>
                <a:gd name="connsiteX49" fmla="*/ 572643 w 642746"/>
                <a:gd name="connsiteY49" fmla="*/ 501110 h 645794"/>
                <a:gd name="connsiteX50" fmla="*/ 537020 w 642746"/>
                <a:gd name="connsiteY50" fmla="*/ 451390 h 645794"/>
                <a:gd name="connsiteX51" fmla="*/ 563404 w 642746"/>
                <a:gd name="connsiteY51" fmla="*/ 386620 h 645794"/>
                <a:gd name="connsiteX52" fmla="*/ 623221 w 642746"/>
                <a:gd name="connsiteY52" fmla="*/ 376142 h 645794"/>
                <a:gd name="connsiteX53" fmla="*/ 642747 w 642746"/>
                <a:gd name="connsiteY53" fmla="*/ 352997 h 645794"/>
                <a:gd name="connsiteX54" fmla="*/ 642747 w 642746"/>
                <a:gd name="connsiteY54" fmla="*/ 322898 h 645794"/>
                <a:gd name="connsiteX55" fmla="*/ 642747 w 642746"/>
                <a:gd name="connsiteY55" fmla="*/ 292799 h 645794"/>
                <a:gd name="connsiteX56" fmla="*/ 623221 w 642746"/>
                <a:gd name="connsiteY56" fmla="*/ 269653 h 64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42746" h="645794">
                  <a:moveTo>
                    <a:pt x="623221" y="269653"/>
                  </a:moveTo>
                  <a:lnTo>
                    <a:pt x="564642" y="259271"/>
                  </a:lnTo>
                  <a:cubicBezTo>
                    <a:pt x="558927" y="236125"/>
                    <a:pt x="549688" y="215265"/>
                    <a:pt x="538258" y="194501"/>
                  </a:cubicBezTo>
                  <a:lnTo>
                    <a:pt x="573881" y="144780"/>
                  </a:lnTo>
                  <a:cubicBezTo>
                    <a:pt x="580739" y="135541"/>
                    <a:pt x="579596" y="122777"/>
                    <a:pt x="571595" y="114681"/>
                  </a:cubicBezTo>
                  <a:lnTo>
                    <a:pt x="548640" y="93821"/>
                  </a:lnTo>
                  <a:lnTo>
                    <a:pt x="527971" y="72962"/>
                  </a:lnTo>
                  <a:cubicBezTo>
                    <a:pt x="519970" y="66008"/>
                    <a:pt x="507302" y="64865"/>
                    <a:pt x="498158" y="70676"/>
                  </a:cubicBezTo>
                  <a:lnTo>
                    <a:pt x="448818" y="106585"/>
                  </a:lnTo>
                  <a:cubicBezTo>
                    <a:pt x="428149" y="95060"/>
                    <a:pt x="406336" y="85725"/>
                    <a:pt x="384524" y="80010"/>
                  </a:cubicBezTo>
                  <a:lnTo>
                    <a:pt x="374237" y="19717"/>
                  </a:lnTo>
                  <a:cubicBezTo>
                    <a:pt x="371951" y="8096"/>
                    <a:pt x="362807" y="0"/>
                    <a:pt x="351282" y="0"/>
                  </a:cubicBezTo>
                  <a:lnTo>
                    <a:pt x="321469" y="0"/>
                  </a:lnTo>
                  <a:lnTo>
                    <a:pt x="291656" y="0"/>
                  </a:lnTo>
                  <a:cubicBezTo>
                    <a:pt x="280226" y="0"/>
                    <a:pt x="270986" y="8096"/>
                    <a:pt x="268700" y="19717"/>
                  </a:cubicBezTo>
                  <a:lnTo>
                    <a:pt x="258318" y="79915"/>
                  </a:lnTo>
                  <a:cubicBezTo>
                    <a:pt x="235363" y="85725"/>
                    <a:pt x="213551" y="94964"/>
                    <a:pt x="192881" y="107728"/>
                  </a:cubicBezTo>
                  <a:lnTo>
                    <a:pt x="143542" y="72962"/>
                  </a:lnTo>
                  <a:cubicBezTo>
                    <a:pt x="134398" y="66008"/>
                    <a:pt x="121730" y="67151"/>
                    <a:pt x="113729" y="75248"/>
                  </a:cubicBezTo>
                  <a:lnTo>
                    <a:pt x="94202" y="96107"/>
                  </a:lnTo>
                  <a:lnTo>
                    <a:pt x="73533" y="116967"/>
                  </a:lnTo>
                  <a:cubicBezTo>
                    <a:pt x="65532" y="125063"/>
                    <a:pt x="64389" y="137827"/>
                    <a:pt x="71247" y="147066"/>
                  </a:cubicBezTo>
                  <a:lnTo>
                    <a:pt x="105632" y="198025"/>
                  </a:lnTo>
                  <a:cubicBezTo>
                    <a:pt x="94107" y="218885"/>
                    <a:pt x="84963" y="240887"/>
                    <a:pt x="79248" y="262795"/>
                  </a:cubicBezTo>
                  <a:lnTo>
                    <a:pt x="19526" y="272034"/>
                  </a:lnTo>
                  <a:cubicBezTo>
                    <a:pt x="8096" y="274320"/>
                    <a:pt x="0" y="283559"/>
                    <a:pt x="0" y="295180"/>
                  </a:cubicBezTo>
                  <a:lnTo>
                    <a:pt x="0" y="325279"/>
                  </a:lnTo>
                  <a:lnTo>
                    <a:pt x="0" y="355378"/>
                  </a:lnTo>
                  <a:cubicBezTo>
                    <a:pt x="0" y="366998"/>
                    <a:pt x="8001" y="376237"/>
                    <a:pt x="19526" y="378524"/>
                  </a:cubicBezTo>
                  <a:lnTo>
                    <a:pt x="79248" y="388906"/>
                  </a:lnTo>
                  <a:cubicBezTo>
                    <a:pt x="84963" y="410909"/>
                    <a:pt x="94202" y="432911"/>
                    <a:pt x="106775" y="453676"/>
                  </a:cubicBezTo>
                  <a:lnTo>
                    <a:pt x="72390" y="503396"/>
                  </a:lnTo>
                  <a:cubicBezTo>
                    <a:pt x="66675" y="510350"/>
                    <a:pt x="67818" y="523113"/>
                    <a:pt x="75819" y="531209"/>
                  </a:cubicBezTo>
                  <a:lnTo>
                    <a:pt x="96488" y="552069"/>
                  </a:lnTo>
                  <a:lnTo>
                    <a:pt x="117158" y="572929"/>
                  </a:lnTo>
                  <a:cubicBezTo>
                    <a:pt x="125159" y="581025"/>
                    <a:pt x="137827" y="582168"/>
                    <a:pt x="146971" y="575215"/>
                  </a:cubicBezTo>
                  <a:lnTo>
                    <a:pt x="196310" y="539306"/>
                  </a:lnTo>
                  <a:cubicBezTo>
                    <a:pt x="216980" y="550831"/>
                    <a:pt x="238792" y="560165"/>
                    <a:pt x="260604" y="565880"/>
                  </a:cubicBezTo>
                  <a:lnTo>
                    <a:pt x="270891" y="626078"/>
                  </a:lnTo>
                  <a:cubicBezTo>
                    <a:pt x="273177" y="637699"/>
                    <a:pt x="282321" y="645795"/>
                    <a:pt x="293846" y="645795"/>
                  </a:cubicBezTo>
                  <a:lnTo>
                    <a:pt x="323660" y="645795"/>
                  </a:lnTo>
                  <a:lnTo>
                    <a:pt x="353473" y="645795"/>
                  </a:lnTo>
                  <a:cubicBezTo>
                    <a:pt x="364903" y="645795"/>
                    <a:pt x="374142" y="637699"/>
                    <a:pt x="376428" y="626078"/>
                  </a:cubicBezTo>
                  <a:lnTo>
                    <a:pt x="386715" y="565880"/>
                  </a:lnTo>
                  <a:cubicBezTo>
                    <a:pt x="408527" y="560070"/>
                    <a:pt x="430340" y="550831"/>
                    <a:pt x="449866" y="539306"/>
                  </a:cubicBezTo>
                  <a:lnTo>
                    <a:pt x="499205" y="575215"/>
                  </a:lnTo>
                  <a:cubicBezTo>
                    <a:pt x="508349" y="582168"/>
                    <a:pt x="521018" y="581025"/>
                    <a:pt x="529019" y="572929"/>
                  </a:cubicBezTo>
                  <a:lnTo>
                    <a:pt x="549688" y="552069"/>
                  </a:lnTo>
                  <a:lnTo>
                    <a:pt x="570357" y="531209"/>
                  </a:lnTo>
                  <a:cubicBezTo>
                    <a:pt x="578358" y="523113"/>
                    <a:pt x="579501" y="510350"/>
                    <a:pt x="572643" y="501110"/>
                  </a:cubicBezTo>
                  <a:lnTo>
                    <a:pt x="537020" y="451390"/>
                  </a:lnTo>
                  <a:cubicBezTo>
                    <a:pt x="548450" y="430530"/>
                    <a:pt x="557689" y="408527"/>
                    <a:pt x="563404" y="386620"/>
                  </a:cubicBezTo>
                  <a:lnTo>
                    <a:pt x="623221" y="376142"/>
                  </a:lnTo>
                  <a:cubicBezTo>
                    <a:pt x="634651" y="373856"/>
                    <a:pt x="642747" y="364617"/>
                    <a:pt x="642747" y="352997"/>
                  </a:cubicBezTo>
                  <a:lnTo>
                    <a:pt x="642747" y="322898"/>
                  </a:lnTo>
                  <a:lnTo>
                    <a:pt x="642747" y="292799"/>
                  </a:lnTo>
                  <a:cubicBezTo>
                    <a:pt x="642747" y="281273"/>
                    <a:pt x="634746" y="272034"/>
                    <a:pt x="623221" y="269653"/>
                  </a:cubicBezTo>
                  <a:close/>
                </a:path>
              </a:pathLst>
            </a:custGeom>
            <a:noFill/>
            <a:ln w="15875" cap="sq">
              <a:solidFill>
                <a:schemeClr val="tx1"/>
              </a:solidFill>
              <a:prstDash val="solid"/>
              <a:miter/>
            </a:ln>
          </p:spPr>
          <p:txBody>
            <a:bodyPr rtlCol="0" anchor="ctr"/>
            <a:lstStyle/>
            <a:p>
              <a:pPr defTabSz="932563"/>
              <a:endParaRPr lang="en-IN">
                <a:solidFill>
                  <a:srgbClr val="3C3C41"/>
                </a:solidFill>
                <a:latin typeface="Segoe UI"/>
              </a:endParaRPr>
            </a:p>
          </p:txBody>
        </p:sp>
      </p:grpSp>
      <p:sp>
        <p:nvSpPr>
          <p:cNvPr id="3" name="Footer Placeholder 4">
            <a:extLst>
              <a:ext uri="{FF2B5EF4-FFF2-40B4-BE49-F238E27FC236}">
                <a16:creationId xmlns:a16="http://schemas.microsoft.com/office/drawing/2014/main" id="{50BE9153-C983-E8C9-A8FA-197045FF322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271121934"/>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923330"/>
          </a:xfrm>
        </p:spPr>
        <p:txBody>
          <a:bodyPr/>
          <a:lstStyle/>
          <a:p>
            <a:r>
              <a:rPr lang="en-US">
                <a:solidFill>
                  <a:srgbClr val="243A5E"/>
                </a:solidFill>
              </a:rPr>
              <a:t>Power Platform Empowers IT Admins with Governance Capabilities</a:t>
            </a:r>
          </a:p>
        </p:txBody>
      </p:sp>
      <p:sp>
        <p:nvSpPr>
          <p:cNvPr id="4" name="Subtitle 3">
            <a:extLst>
              <a:ext uri="{FF2B5EF4-FFF2-40B4-BE49-F238E27FC236}">
                <a16:creationId xmlns:a16="http://schemas.microsoft.com/office/drawing/2014/main" id="{9A2BD320-DEBB-4A03-9DB6-10A7863D2BF8}"/>
              </a:ext>
            </a:extLst>
          </p:cNvPr>
          <p:cNvSpPr>
            <a:spLocks noGrp="1"/>
          </p:cNvSpPr>
          <p:nvPr>
            <p:ph type="subTitle" idx="1"/>
          </p:nvPr>
        </p:nvSpPr>
        <p:spPr>
          <a:xfrm>
            <a:off x="671490" y="1307580"/>
            <a:ext cx="11337889" cy="461665"/>
          </a:xfrm>
        </p:spPr>
        <p:txBody>
          <a:bodyPr>
            <a:noAutofit/>
          </a:bodyPr>
          <a:lstStyle/>
          <a:p>
            <a:r>
              <a:rPr lang="en-US" sz="1800"/>
              <a:t>Empowering admins with full visibility and the tools needed to balance business productivity with governance</a:t>
            </a:r>
          </a:p>
          <a:p>
            <a:endParaRPr lang="LID4096" sz="1800"/>
          </a:p>
        </p:txBody>
      </p:sp>
      <p:cxnSp>
        <p:nvCxnSpPr>
          <p:cNvPr id="6" name="Straight Connector 5">
            <a:extLst>
              <a:ext uri="{FF2B5EF4-FFF2-40B4-BE49-F238E27FC236}">
                <a16:creationId xmlns:a16="http://schemas.microsoft.com/office/drawing/2014/main" id="{8702EFCC-E47B-4999-9D62-4E235C6E7344}"/>
              </a:ext>
            </a:extLst>
          </p:cNvPr>
          <p:cNvCxnSpPr>
            <a:cxnSpLocks/>
          </p:cNvCxnSpPr>
          <p:nvPr/>
        </p:nvCxnSpPr>
        <p:spPr>
          <a:xfrm>
            <a:off x="3066539" y="3400925"/>
            <a:ext cx="7123912"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 name="Straight Connector 6">
            <a:extLst>
              <a:ext uri="{FF2B5EF4-FFF2-40B4-BE49-F238E27FC236}">
                <a16:creationId xmlns:a16="http://schemas.microsoft.com/office/drawing/2014/main" id="{436419B9-6B16-4BF2-9455-7E6FBE04836E}"/>
              </a:ext>
            </a:extLst>
          </p:cNvPr>
          <p:cNvCxnSpPr>
            <a:cxnSpLocks/>
          </p:cNvCxnSpPr>
          <p:nvPr/>
        </p:nvCxnSpPr>
        <p:spPr>
          <a:xfrm>
            <a:off x="3066539" y="4846518"/>
            <a:ext cx="7123912"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8" name="TextBox 7">
            <a:extLst>
              <a:ext uri="{FF2B5EF4-FFF2-40B4-BE49-F238E27FC236}">
                <a16:creationId xmlns:a16="http://schemas.microsoft.com/office/drawing/2014/main" id="{565013B0-48DF-460A-A903-94D321E96129}"/>
              </a:ext>
            </a:extLst>
          </p:cNvPr>
          <p:cNvSpPr txBox="1"/>
          <p:nvPr/>
        </p:nvSpPr>
        <p:spPr>
          <a:xfrm>
            <a:off x="4856889" y="2380117"/>
            <a:ext cx="5333562" cy="585391"/>
          </a:xfrm>
          <a:prstGeom prst="rect">
            <a:avLst/>
          </a:prstGeom>
          <a:noFill/>
        </p:spPr>
        <p:txBody>
          <a:bodyPr wrap="square" lIns="0" tIns="0" rIns="0" bIns="0" rtlCol="0" anchor="ctr">
            <a:noAutofit/>
          </a:bodyPr>
          <a:lstStyle/>
          <a:p>
            <a:pPr defTabSz="932563">
              <a:lnSpc>
                <a:spcPct val="90000"/>
              </a:lnSpc>
              <a:spcAft>
                <a:spcPts val="600"/>
              </a:spcAft>
            </a:pPr>
            <a:r>
              <a:rPr lang="en-US" sz="2000">
                <a:solidFill>
                  <a:srgbClr val="3C3C41"/>
                </a:solidFill>
                <a:latin typeface="Segoe UI"/>
              </a:rPr>
              <a:t>Makes governance a mandate</a:t>
            </a:r>
          </a:p>
        </p:txBody>
      </p:sp>
      <p:sp>
        <p:nvSpPr>
          <p:cNvPr id="9" name="TextBox 8">
            <a:extLst>
              <a:ext uri="{FF2B5EF4-FFF2-40B4-BE49-F238E27FC236}">
                <a16:creationId xmlns:a16="http://schemas.microsoft.com/office/drawing/2014/main" id="{3CB038CE-D48E-441C-9B3C-9C4AC8C8FE18}"/>
              </a:ext>
            </a:extLst>
          </p:cNvPr>
          <p:cNvSpPr txBox="1"/>
          <p:nvPr/>
        </p:nvSpPr>
        <p:spPr>
          <a:xfrm>
            <a:off x="5664494" y="3793814"/>
            <a:ext cx="4525957" cy="585391"/>
          </a:xfrm>
          <a:prstGeom prst="rect">
            <a:avLst/>
          </a:prstGeom>
          <a:noFill/>
        </p:spPr>
        <p:txBody>
          <a:bodyPr wrap="square" lIns="0" tIns="0" rIns="0" bIns="0" rtlCol="0" anchor="ctr">
            <a:noAutofit/>
          </a:bodyPr>
          <a:lstStyle/>
          <a:p>
            <a:pPr defTabSz="932563">
              <a:lnSpc>
                <a:spcPct val="90000"/>
              </a:lnSpc>
              <a:spcAft>
                <a:spcPts val="600"/>
              </a:spcAft>
            </a:pPr>
            <a:r>
              <a:rPr lang="en-US" sz="2000">
                <a:solidFill>
                  <a:srgbClr val="3C3C41"/>
                </a:solidFill>
                <a:latin typeface="Segoe UI"/>
              </a:rPr>
              <a:t>Helps Develop &amp; Implement a Strategy</a:t>
            </a:r>
          </a:p>
        </p:txBody>
      </p:sp>
      <p:sp>
        <p:nvSpPr>
          <p:cNvPr id="10" name="TextBox 9">
            <a:extLst>
              <a:ext uri="{FF2B5EF4-FFF2-40B4-BE49-F238E27FC236}">
                <a16:creationId xmlns:a16="http://schemas.microsoft.com/office/drawing/2014/main" id="{D2DF6371-E9D0-43DE-A46E-E5F30B6C793F}"/>
              </a:ext>
            </a:extLst>
          </p:cNvPr>
          <p:cNvSpPr txBox="1"/>
          <p:nvPr/>
        </p:nvSpPr>
        <p:spPr>
          <a:xfrm>
            <a:off x="4856889" y="5303209"/>
            <a:ext cx="5333562" cy="585391"/>
          </a:xfrm>
          <a:prstGeom prst="rect">
            <a:avLst/>
          </a:prstGeom>
          <a:noFill/>
        </p:spPr>
        <p:txBody>
          <a:bodyPr wrap="square" lIns="0" tIns="0" rIns="0" bIns="0" rtlCol="0" anchor="ctr">
            <a:noAutofit/>
          </a:bodyPr>
          <a:lstStyle/>
          <a:p>
            <a:pPr defTabSz="932563">
              <a:lnSpc>
                <a:spcPct val="90000"/>
              </a:lnSpc>
              <a:spcAft>
                <a:spcPts val="600"/>
              </a:spcAft>
            </a:pPr>
            <a:r>
              <a:rPr lang="en-US" sz="2000">
                <a:solidFill>
                  <a:srgbClr val="3C3C41"/>
                </a:solidFill>
                <a:latin typeface="Segoe UI"/>
              </a:rPr>
              <a:t>Allows flexibility when needed</a:t>
            </a:r>
          </a:p>
        </p:txBody>
      </p:sp>
      <p:grpSp>
        <p:nvGrpSpPr>
          <p:cNvPr id="11" name="Group 10">
            <a:extLst>
              <a:ext uri="{FF2B5EF4-FFF2-40B4-BE49-F238E27FC236}">
                <a16:creationId xmlns:a16="http://schemas.microsoft.com/office/drawing/2014/main" id="{9EF2B14C-C8C0-4BA7-B44E-72769D3A6CBF}"/>
              </a:ext>
            </a:extLst>
          </p:cNvPr>
          <p:cNvGrpSpPr/>
          <p:nvPr/>
        </p:nvGrpSpPr>
        <p:grpSpPr>
          <a:xfrm>
            <a:off x="3518846" y="2240024"/>
            <a:ext cx="1004069" cy="865577"/>
            <a:chOff x="5300292" y="1515313"/>
            <a:chExt cx="1077402" cy="928794"/>
          </a:xfrm>
        </p:grpSpPr>
        <p:sp>
          <p:nvSpPr>
            <p:cNvPr id="13" name="Hexagon 12">
              <a:extLst>
                <a:ext uri="{FF2B5EF4-FFF2-40B4-BE49-F238E27FC236}">
                  <a16:creationId xmlns:a16="http://schemas.microsoft.com/office/drawing/2014/main" id="{AC9B5780-4F1B-4D51-8799-4D3DC9372925}"/>
                </a:ext>
              </a:extLst>
            </p:cNvPr>
            <p:cNvSpPr/>
            <p:nvPr/>
          </p:nvSpPr>
          <p:spPr bwMode="auto">
            <a:xfrm flipV="1">
              <a:off x="5300292" y="1515313"/>
              <a:ext cx="1077402" cy="928794"/>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cs typeface="Segoe UI" pitchFamily="34" charset="0"/>
              </a:endParaRPr>
            </a:p>
          </p:txBody>
        </p:sp>
        <p:sp>
          <p:nvSpPr>
            <p:cNvPr id="14" name="hand_3" title="Icon of a hand giving a thumbs-up">
              <a:extLst>
                <a:ext uri="{FF2B5EF4-FFF2-40B4-BE49-F238E27FC236}">
                  <a16:creationId xmlns:a16="http://schemas.microsoft.com/office/drawing/2014/main" id="{44C32EDE-8DD8-4527-829B-96983F34DA40}"/>
                </a:ext>
              </a:extLst>
            </p:cNvPr>
            <p:cNvSpPr>
              <a:spLocks noChangeAspect="1"/>
            </p:cNvSpPr>
            <p:nvPr/>
          </p:nvSpPr>
          <p:spPr bwMode="auto">
            <a:xfrm>
              <a:off x="5593849" y="1765002"/>
              <a:ext cx="490288" cy="429416"/>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3C3C41"/>
                </a:solidFill>
                <a:latin typeface="Segoe UI"/>
              </a:endParaRPr>
            </a:p>
          </p:txBody>
        </p:sp>
      </p:grpSp>
      <p:grpSp>
        <p:nvGrpSpPr>
          <p:cNvPr id="15" name="Group 14">
            <a:extLst>
              <a:ext uri="{FF2B5EF4-FFF2-40B4-BE49-F238E27FC236}">
                <a16:creationId xmlns:a16="http://schemas.microsoft.com/office/drawing/2014/main" id="{E54DFC18-323D-487E-9281-2E6D42114A21}"/>
              </a:ext>
            </a:extLst>
          </p:cNvPr>
          <p:cNvGrpSpPr/>
          <p:nvPr/>
        </p:nvGrpSpPr>
        <p:grpSpPr>
          <a:xfrm>
            <a:off x="4354591" y="3653720"/>
            <a:ext cx="1004069" cy="865577"/>
            <a:chOff x="6136156" y="3290773"/>
            <a:chExt cx="1077402" cy="928794"/>
          </a:xfrm>
        </p:grpSpPr>
        <p:sp>
          <p:nvSpPr>
            <p:cNvPr id="16" name="Hexagon 15">
              <a:extLst>
                <a:ext uri="{FF2B5EF4-FFF2-40B4-BE49-F238E27FC236}">
                  <a16:creationId xmlns:a16="http://schemas.microsoft.com/office/drawing/2014/main" id="{3B068F1A-9C53-461F-9A30-31C37DCDC2EC}"/>
                </a:ext>
              </a:extLst>
            </p:cNvPr>
            <p:cNvSpPr/>
            <p:nvPr/>
          </p:nvSpPr>
          <p:spPr bwMode="auto">
            <a:xfrm flipV="1">
              <a:off x="6136156" y="3290773"/>
              <a:ext cx="1077402" cy="928794"/>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cs typeface="Segoe UI" pitchFamily="34" charset="0"/>
              </a:endParaRPr>
            </a:p>
          </p:txBody>
        </p:sp>
        <p:sp>
          <p:nvSpPr>
            <p:cNvPr id="17" name="plan" title="Icon of a circle with an arrow projecting from it between two exes">
              <a:extLst>
                <a:ext uri="{FF2B5EF4-FFF2-40B4-BE49-F238E27FC236}">
                  <a16:creationId xmlns:a16="http://schemas.microsoft.com/office/drawing/2014/main" id="{77DF5374-5B1E-4C24-9DCC-D24FE6A86B75}"/>
                </a:ext>
              </a:extLst>
            </p:cNvPr>
            <p:cNvSpPr>
              <a:spLocks noChangeAspect="1" noEditPoints="1"/>
            </p:cNvSpPr>
            <p:nvPr/>
          </p:nvSpPr>
          <p:spPr bwMode="auto">
            <a:xfrm>
              <a:off x="6430170" y="3509520"/>
              <a:ext cx="489375" cy="491301"/>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lin ang="5400000" scaled="1"/>
                </a:gradFill>
                <a:latin typeface="Segoe UI"/>
              </a:endParaRPr>
            </a:p>
          </p:txBody>
        </p:sp>
      </p:grpSp>
      <p:grpSp>
        <p:nvGrpSpPr>
          <p:cNvPr id="18" name="Group 17">
            <a:extLst>
              <a:ext uri="{FF2B5EF4-FFF2-40B4-BE49-F238E27FC236}">
                <a16:creationId xmlns:a16="http://schemas.microsoft.com/office/drawing/2014/main" id="{D69E34A3-5C6D-42CD-B7AE-1BCD0DF1B63D}"/>
              </a:ext>
            </a:extLst>
          </p:cNvPr>
          <p:cNvGrpSpPr/>
          <p:nvPr/>
        </p:nvGrpSpPr>
        <p:grpSpPr>
          <a:xfrm>
            <a:off x="3518846" y="5163115"/>
            <a:ext cx="1004069" cy="865577"/>
            <a:chOff x="5300292" y="5066233"/>
            <a:chExt cx="1077402" cy="928794"/>
          </a:xfrm>
        </p:grpSpPr>
        <p:sp>
          <p:nvSpPr>
            <p:cNvPr id="19" name="Hexagon 18">
              <a:extLst>
                <a:ext uri="{FF2B5EF4-FFF2-40B4-BE49-F238E27FC236}">
                  <a16:creationId xmlns:a16="http://schemas.microsoft.com/office/drawing/2014/main" id="{4B0B8C28-71D2-44DF-8FBB-7FFCD36D4DF6}"/>
                </a:ext>
              </a:extLst>
            </p:cNvPr>
            <p:cNvSpPr/>
            <p:nvPr/>
          </p:nvSpPr>
          <p:spPr bwMode="auto">
            <a:xfrm flipV="1">
              <a:off x="5300292" y="5066233"/>
              <a:ext cx="1077402" cy="928794"/>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cs typeface="Segoe UI" pitchFamily="34" charset="0"/>
              </a:endParaRPr>
            </a:p>
          </p:txBody>
        </p:sp>
        <p:sp>
          <p:nvSpPr>
            <p:cNvPr id="20" name="arrow_17" title="Icon of a curved arrow that splits in two directions">
              <a:extLst>
                <a:ext uri="{FF2B5EF4-FFF2-40B4-BE49-F238E27FC236}">
                  <a16:creationId xmlns:a16="http://schemas.microsoft.com/office/drawing/2014/main" id="{99B4E07A-BBC7-4977-B384-610296CC2868}"/>
                </a:ext>
              </a:extLst>
            </p:cNvPr>
            <p:cNvSpPr>
              <a:spLocks noChangeAspect="1" noEditPoints="1"/>
            </p:cNvSpPr>
            <p:nvPr/>
          </p:nvSpPr>
          <p:spPr bwMode="auto">
            <a:xfrm>
              <a:off x="5622632" y="5262043"/>
              <a:ext cx="432723" cy="537174"/>
            </a:xfrm>
            <a:custGeom>
              <a:avLst/>
              <a:gdLst>
                <a:gd name="T0" fmla="*/ 228 w 280"/>
                <a:gd name="T1" fmla="*/ 98 h 349"/>
                <a:gd name="T2" fmla="*/ 279 w 280"/>
                <a:gd name="T3" fmla="*/ 149 h 349"/>
                <a:gd name="T4" fmla="*/ 228 w 280"/>
                <a:gd name="T5" fmla="*/ 200 h 349"/>
                <a:gd name="T6" fmla="*/ 73 w 280"/>
                <a:gd name="T7" fmla="*/ 0 h 349"/>
                <a:gd name="T8" fmla="*/ 0 w 280"/>
                <a:gd name="T9" fmla="*/ 0 h 349"/>
                <a:gd name="T10" fmla="*/ 0 w 280"/>
                <a:gd name="T11" fmla="*/ 72 h 349"/>
                <a:gd name="T12" fmla="*/ 130 w 280"/>
                <a:gd name="T13" fmla="*/ 349 h 349"/>
                <a:gd name="T14" fmla="*/ 0 w 280"/>
                <a:gd name="T15" fmla="*/ 0 h 349"/>
                <a:gd name="T16" fmla="*/ 280 w 280"/>
                <a:gd name="T17" fmla="*/ 144 h 349"/>
                <a:gd name="T18" fmla="*/ 280 w 280"/>
                <a:gd name="T19" fmla="*/ 144 h 349"/>
                <a:gd name="T20" fmla="*/ 280 w 280"/>
                <a:gd name="T21" fmla="*/ 149 h 349"/>
                <a:gd name="T22" fmla="*/ 131 w 280"/>
                <a:gd name="T23" fmla="*/ 28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349">
                  <a:moveTo>
                    <a:pt x="228" y="98"/>
                  </a:moveTo>
                  <a:cubicBezTo>
                    <a:pt x="279" y="149"/>
                    <a:pt x="279" y="149"/>
                    <a:pt x="279" y="149"/>
                  </a:cubicBezTo>
                  <a:cubicBezTo>
                    <a:pt x="228" y="200"/>
                    <a:pt x="228" y="200"/>
                    <a:pt x="228" y="200"/>
                  </a:cubicBezTo>
                  <a:moveTo>
                    <a:pt x="73" y="0"/>
                  </a:moveTo>
                  <a:cubicBezTo>
                    <a:pt x="0" y="0"/>
                    <a:pt x="0" y="0"/>
                    <a:pt x="0" y="0"/>
                  </a:cubicBezTo>
                  <a:cubicBezTo>
                    <a:pt x="0" y="72"/>
                    <a:pt x="0" y="72"/>
                    <a:pt x="0" y="72"/>
                  </a:cubicBezTo>
                  <a:moveTo>
                    <a:pt x="130" y="349"/>
                  </a:moveTo>
                  <a:cubicBezTo>
                    <a:pt x="144" y="79"/>
                    <a:pt x="0" y="0"/>
                    <a:pt x="0" y="0"/>
                  </a:cubicBezTo>
                  <a:moveTo>
                    <a:pt x="280" y="144"/>
                  </a:moveTo>
                  <a:cubicBezTo>
                    <a:pt x="280" y="144"/>
                    <a:pt x="280" y="144"/>
                    <a:pt x="280" y="144"/>
                  </a:cubicBezTo>
                  <a:moveTo>
                    <a:pt x="280" y="149"/>
                  </a:moveTo>
                  <a:cubicBezTo>
                    <a:pt x="280" y="149"/>
                    <a:pt x="124" y="129"/>
                    <a:pt x="131" y="286"/>
                  </a:cubicBezTo>
                </a:path>
              </a:pathLst>
            </a:custGeom>
            <a:noFill/>
            <a:ln w="15875"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900">
                <a:gradFill>
                  <a:gsLst>
                    <a:gs pos="0">
                      <a:srgbClr val="505050"/>
                    </a:gs>
                    <a:gs pos="100000">
                      <a:srgbClr val="505050"/>
                    </a:gs>
                  </a:gsLst>
                  <a:lin ang="5400000" scaled="1"/>
                </a:gradFill>
                <a:latin typeface="Segoe UI"/>
              </a:endParaRPr>
            </a:p>
          </p:txBody>
        </p:sp>
      </p:grpSp>
      <p:sp>
        <p:nvSpPr>
          <p:cNvPr id="3" name="Footer Placeholder 4">
            <a:extLst>
              <a:ext uri="{FF2B5EF4-FFF2-40B4-BE49-F238E27FC236}">
                <a16:creationId xmlns:a16="http://schemas.microsoft.com/office/drawing/2014/main" id="{E10A64E1-27CC-3511-B2FE-0B0E919DB82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72411694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0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0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0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0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0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1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1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ags/tag11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117.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118.xml><?xml version="1.0" encoding="utf-8"?>
<p:tagLst xmlns:a="http://schemas.openxmlformats.org/drawingml/2006/main" xmlns:r="http://schemas.openxmlformats.org/officeDocument/2006/relationships" xmlns:p="http://schemas.openxmlformats.org/presentationml/2006/main">
  <p:tag name="MIO_GUID" val="1e5e1ebb-e8bf-4fba-87f5-5fca36bd0235"/>
  <p:tag name="MIO_EKGUID" val="4a7276aa-f0e9-4ef0-ad73-7465bc58870f"/>
  <p:tag name="MIO_UPDATE" val="True"/>
  <p:tag name="MIO_VERSION" val="30.03.2020 15:44:06"/>
  <p:tag name="MIO_DBID" val="12b0c59e-2253-4124-a5e9-470adf4cb168"/>
  <p:tag name="MIO_LASTDOWNLOADED" val="30.03.2020 15:44:52"/>
  <p:tag name="MIO_OBJECTNAME" val="Microsoft"/>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ags/tag5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7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8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8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8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8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8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9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9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9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96.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9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noFill/>
        <a:ln w="19050">
          <a:solidFill>
            <a:srgbClr val="FF0000"/>
          </a:solid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febbbb0-d9c1-42a4-ad3a-6634c725d137" xsi:nil="true"/>
    <metadata xmlns="afebbbb0-d9c1-42a4-ad3a-6634c725d137" xsi:nil="true"/>
    <asdtitle xmlns="afebbbb0-d9c1-42a4-ad3a-6634c725d137" xsi:nil="true"/>
    <asdstatus xmlns="afebbbb0-d9c1-42a4-ad3a-6634c725d137" xsi:nil="true"/>
    <blutitle xmlns="afebbbb0-d9c1-42a4-ad3a-6634c725d137" xsi:nil="true"/>
  </documentManagement>
</p:properties>
</file>

<file path=customXml/item3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7.xml><?xml version="1.0" encoding="utf-8"?>
<ct:contentTypeSchema xmlns:ct="http://schemas.microsoft.com/office/2006/metadata/contentType" xmlns:ma="http://schemas.microsoft.com/office/2006/metadata/properties/metaAttributes" ct:_="" ma:_="" ma:contentTypeName="Document" ma:contentTypeID="0x010100D894FC83E0D2D145AC061E7B85D76DFA" ma:contentTypeVersion="20" ma:contentTypeDescription="Create a new document." ma:contentTypeScope="" ma:versionID="55a9d016e4b286c3fb8a4c07d000314a">
  <xsd:schema xmlns:xsd="http://www.w3.org/2001/XMLSchema" xmlns:xs="http://www.w3.org/2001/XMLSchema" xmlns:p="http://schemas.microsoft.com/office/2006/metadata/properties" xmlns:ns1="http://schemas.microsoft.com/sharepoint/v3" xmlns:ns2="afebbbb0-d9c1-42a4-ad3a-6634c725d137" xmlns:ns3="1e6b662e-9b08-4ccb-b10c-95b38e0268e8" targetNamespace="http://schemas.microsoft.com/office/2006/metadata/properties" ma:root="true" ma:fieldsID="275ba43f72ef7d8a830dae7c22c43d3e" ns1:_="" ns2:_="" ns3:_="">
    <xsd:import namespace="http://schemas.microsoft.com/sharepoint/v3"/>
    <xsd:import namespace="afebbbb0-d9c1-42a4-ad3a-6634c725d137"/>
    <xsd:import namespace="1e6b662e-9b08-4ccb-b10c-95b38e0268e8"/>
    <xsd:element name="properties">
      <xsd:complexType>
        <xsd:sequence>
          <xsd:element name="documentManagement">
            <xsd:complexType>
              <xsd:all>
                <xsd:element ref="ns2:asdstatus" minOccurs="0"/>
                <xsd:element ref="ns2:asdtitle" minOccurs="0"/>
                <xsd:element ref="ns2:blutitle" minOccurs="0"/>
                <xsd:element ref="ns2:metadata"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ebbbb0-d9c1-42a4-ad3a-6634c725d137" elementFormDefault="qualified">
    <xsd:import namespace="http://schemas.microsoft.com/office/2006/documentManagement/types"/>
    <xsd:import namespace="http://schemas.microsoft.com/office/infopath/2007/PartnerControls"/>
    <xsd:element name="asdstatus" ma:index="8" nillable="true" ma:displayName="ASD Status" ma:internalName="asdstatus">
      <xsd:simpleType>
        <xsd:restriction base="dms:Choice">
          <xsd:enumeration value="ASD Pending"/>
          <xsd:enumeration value="ASD Complete"/>
          <xsd:enumeration value="ASD Rejected"/>
        </xsd:restriction>
      </xsd:simpleType>
    </xsd:element>
    <xsd:element name="asdtitle" ma:index="9" nillable="true" ma:displayName="ASD Title" ma:internalName="asdtitle">
      <xsd:simpleType>
        <xsd:restriction base="dms:Text"/>
      </xsd:simpleType>
    </xsd:element>
    <xsd:element name="blutitle" ma:index="10" nillable="true" ma:displayName="BLU Title" ma:internalName="blutitle">
      <xsd:simpleType>
        <xsd:restriction base="dms:Text"/>
      </xsd:simpleType>
    </xsd:element>
    <xsd:element name="metadata" ma:index="11" nillable="true" ma:displayName="Metadata" ma:internalName="metadata">
      <xsd:simpleType>
        <xsd:restriction base="dms:Note">
          <xsd:maxLength value="255"/>
        </xsd:restriction>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6b662e-9b08-4ccb-b10c-95b38e0268e8"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82C716E8-B770-4139-99B0-F35B9C64B90F}">
  <ds:schemaRefs>
    <ds:schemaRef ds:uri="Strauss.PersonalizationDefinition"/>
  </ds:schemaRefs>
</ds:datastoreItem>
</file>

<file path=customXml/itemProps10.xml><?xml version="1.0" encoding="utf-8"?>
<ds:datastoreItem xmlns:ds="http://schemas.openxmlformats.org/officeDocument/2006/customXml" ds:itemID="{08068EAD-DA6C-4DC8-843E-9CB0982D15F3}">
  <ds:schemaRefs>
    <ds:schemaRef ds:uri="Strauss.PersonalizationDefinition"/>
  </ds:schemaRefs>
</ds:datastoreItem>
</file>

<file path=customXml/itemProps11.xml><?xml version="1.0" encoding="utf-8"?>
<ds:datastoreItem xmlns:ds="http://schemas.openxmlformats.org/officeDocument/2006/customXml" ds:itemID="{E7EBEF02-C69B-46E0-B38A-E51611CE5254}">
  <ds:schemaRefs>
    <ds:schemaRef ds:uri="Strauss.PersonalizationDefinition"/>
  </ds:schemaRefs>
</ds:datastoreItem>
</file>

<file path=customXml/itemProps12.xml><?xml version="1.0" encoding="utf-8"?>
<ds:datastoreItem xmlns:ds="http://schemas.openxmlformats.org/officeDocument/2006/customXml" ds:itemID="{7BE5F28F-50CA-40F1-A02E-E794FE33362D}">
  <ds:schemaRefs>
    <ds:schemaRef ds:uri="Strauss.PersonalizationDefinition"/>
  </ds:schemaRefs>
</ds:datastoreItem>
</file>

<file path=customXml/itemProps13.xml><?xml version="1.0" encoding="utf-8"?>
<ds:datastoreItem xmlns:ds="http://schemas.openxmlformats.org/officeDocument/2006/customXml" ds:itemID="{68BE9F8F-073F-46B7-B2D0-86DC8E2E9DCE}">
  <ds:schemaRefs>
    <ds:schemaRef ds:uri="Strauss.PersonalizationDefinition"/>
  </ds:schemaRefs>
</ds:datastoreItem>
</file>

<file path=customXml/itemProps14.xml><?xml version="1.0" encoding="utf-8"?>
<ds:datastoreItem xmlns:ds="http://schemas.openxmlformats.org/officeDocument/2006/customXml" ds:itemID="{406127A5-B8F7-4F8A-95A9-8E20F72EA129}">
  <ds:schemaRefs>
    <ds:schemaRef ds:uri="Strauss.PersonalizationDefinition"/>
  </ds:schemaRefs>
</ds:datastoreItem>
</file>

<file path=customXml/itemProps15.xml><?xml version="1.0" encoding="utf-8"?>
<ds:datastoreItem xmlns:ds="http://schemas.openxmlformats.org/officeDocument/2006/customXml" ds:itemID="{ECCE7DC3-F525-4E76-8812-56FCA2D21E50}">
  <ds:schemaRefs>
    <ds:schemaRef ds:uri="Strauss.PersonalizationDefinition"/>
  </ds:schemaRefs>
</ds:datastoreItem>
</file>

<file path=customXml/itemProps16.xml><?xml version="1.0" encoding="utf-8"?>
<ds:datastoreItem xmlns:ds="http://schemas.openxmlformats.org/officeDocument/2006/customXml" ds:itemID="{628127A0-F2C3-45C3-BB9F-5B29A6B848BE}">
  <ds:schemaRefs>
    <ds:schemaRef ds:uri="Strauss.PersonalizationDefinition"/>
  </ds:schemaRefs>
</ds:datastoreItem>
</file>

<file path=customXml/itemProps17.xml><?xml version="1.0" encoding="utf-8"?>
<ds:datastoreItem xmlns:ds="http://schemas.openxmlformats.org/officeDocument/2006/customXml" ds:itemID="{DE0DC7DC-A960-4E6E-BF1B-D3D906B081A2}">
  <ds:schemaRefs>
    <ds:schemaRef ds:uri="Strauss.PersonalizationDefinition"/>
  </ds:schemaRefs>
</ds:datastoreItem>
</file>

<file path=customXml/itemProps18.xml><?xml version="1.0" encoding="utf-8"?>
<ds:datastoreItem xmlns:ds="http://schemas.openxmlformats.org/officeDocument/2006/customXml" ds:itemID="{B09E3EAE-66CA-4A91-A5FE-A34A70B099ED}">
  <ds:schemaRefs>
    <ds:schemaRef ds:uri="Strauss.PersonalizationDefinition"/>
  </ds:schemaRefs>
</ds:datastoreItem>
</file>

<file path=customXml/itemProps19.xml><?xml version="1.0" encoding="utf-8"?>
<ds:datastoreItem xmlns:ds="http://schemas.openxmlformats.org/officeDocument/2006/customXml" ds:itemID="{D7FDC28F-4CBD-40ED-9D33-0A1360D5DEC4}">
  <ds:schemaRefs>
    <ds:schemaRef ds:uri="Strauss.PersonalizationDefinition"/>
  </ds:schemaRefs>
</ds:datastoreItem>
</file>

<file path=customXml/itemProps2.xml><?xml version="1.0" encoding="utf-8"?>
<ds:datastoreItem xmlns:ds="http://schemas.openxmlformats.org/officeDocument/2006/customXml" ds:itemID="{4A3F169F-E27D-4A25-888C-4C5D83BAC082}">
  <ds:schemaRefs>
    <ds:schemaRef ds:uri="Strauss.PersonalizationDefinition"/>
  </ds:schemaRefs>
</ds:datastoreItem>
</file>

<file path=customXml/itemProps20.xml><?xml version="1.0" encoding="utf-8"?>
<ds:datastoreItem xmlns:ds="http://schemas.openxmlformats.org/officeDocument/2006/customXml" ds:itemID="{103AB8E4-C30A-4895-9606-8D77F2E70F19}">
  <ds:schemaRefs>
    <ds:schemaRef ds:uri="Strauss.PersonalizationDefinition"/>
  </ds:schemaRefs>
</ds:datastoreItem>
</file>

<file path=customXml/itemProps21.xml><?xml version="1.0" encoding="utf-8"?>
<ds:datastoreItem xmlns:ds="http://schemas.openxmlformats.org/officeDocument/2006/customXml" ds:itemID="{B228D3F7-8445-4CE7-92DC-AC7FE2D5A2AF}">
  <ds:schemaRefs>
    <ds:schemaRef ds:uri="Strauss.PersonalizationDefinition"/>
  </ds:schemaRefs>
</ds:datastoreItem>
</file>

<file path=customXml/itemProps22.xml><?xml version="1.0" encoding="utf-8"?>
<ds:datastoreItem xmlns:ds="http://schemas.openxmlformats.org/officeDocument/2006/customXml" ds:itemID="{F56EB5D8-3CD5-48EE-9536-13CF2B9AC25D}">
  <ds:schemaRefs>
    <ds:schemaRef ds:uri="Strauss.PersonalizationDefinition"/>
  </ds:schemaRefs>
</ds:datastoreItem>
</file>

<file path=customXml/itemProps23.xml><?xml version="1.0" encoding="utf-8"?>
<ds:datastoreItem xmlns:ds="http://schemas.openxmlformats.org/officeDocument/2006/customXml" ds:itemID="{2BCFCE7B-4A43-491B-887D-365E2A1C50B2}">
  <ds:schemaRefs>
    <ds:schemaRef ds:uri="Strauss.PersonalizationDefinition"/>
  </ds:schemaRefs>
</ds:datastoreItem>
</file>

<file path=customXml/itemProps24.xml><?xml version="1.0" encoding="utf-8"?>
<ds:datastoreItem xmlns:ds="http://schemas.openxmlformats.org/officeDocument/2006/customXml" ds:itemID="{32920470-F086-4197-B6FE-12027DE25DCC}">
  <ds:schemaRefs>
    <ds:schemaRef ds:uri="Strauss.PersonalizationDefinition"/>
  </ds:schemaRefs>
</ds:datastoreItem>
</file>

<file path=customXml/itemProps25.xml><?xml version="1.0" encoding="utf-8"?>
<ds:datastoreItem xmlns:ds="http://schemas.openxmlformats.org/officeDocument/2006/customXml" ds:itemID="{FC25CD5D-A9DA-407F-9106-47BDA14BCED9}">
  <ds:schemaRefs>
    <ds:schemaRef ds:uri="Strauss.PersonalizationDefinition"/>
  </ds:schemaRefs>
</ds:datastoreItem>
</file>

<file path=customXml/itemProps26.xml><?xml version="1.0" encoding="utf-8"?>
<ds:datastoreItem xmlns:ds="http://schemas.openxmlformats.org/officeDocument/2006/customXml" ds:itemID="{6552B3D2-5F72-49FB-8B35-AFE12BF36804}">
  <ds:schemaRefs>
    <ds:schemaRef ds:uri="Strauss.PersonalizationDefinition"/>
  </ds:schemaRefs>
</ds:datastoreItem>
</file>

<file path=customXml/itemProps27.xml><?xml version="1.0" encoding="utf-8"?>
<ds:datastoreItem xmlns:ds="http://schemas.openxmlformats.org/officeDocument/2006/customXml" ds:itemID="{EDFBA6C8-3A38-44F0-B645-B6B0034983DA}">
  <ds:schemaRefs>
    <ds:schemaRef ds:uri="Strauss.PersonalizationDefinition"/>
  </ds:schemaRefs>
</ds:datastoreItem>
</file>

<file path=customXml/itemProps28.xml><?xml version="1.0" encoding="utf-8"?>
<ds:datastoreItem xmlns:ds="http://schemas.openxmlformats.org/officeDocument/2006/customXml" ds:itemID="{541D4602-AC17-4CBD-B95E-D5B3D757BC54}">
  <ds:schemaRefs>
    <ds:schemaRef ds:uri="Strauss.PersonalizationDefinition"/>
  </ds:schemaRefs>
</ds:datastoreItem>
</file>

<file path=customXml/itemProps29.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3.xml><?xml version="1.0" encoding="utf-8"?>
<ds:datastoreItem xmlns:ds="http://schemas.openxmlformats.org/officeDocument/2006/customXml" ds:itemID="{BC268A45-186B-46A3-937F-0E016CEA70C1}">
  <ds:schemaRefs>
    <ds:schemaRef ds:uri="Strauss.PersonalizationDefinition"/>
  </ds:schemaRefs>
</ds:datastoreItem>
</file>

<file path=customXml/itemProps30.xml><?xml version="1.0" encoding="utf-8"?>
<ds:datastoreItem xmlns:ds="http://schemas.openxmlformats.org/officeDocument/2006/customXml" ds:itemID="{EF4AA5EB-A638-4D3A-B852-E71E18ED4953}">
  <ds:schemaRefs>
    <ds:schemaRef ds:uri="Strauss.PersonalizationDefinition"/>
  </ds:schemaRefs>
</ds:datastoreItem>
</file>

<file path=customXml/itemProps31.xml><?xml version="1.0" encoding="utf-8"?>
<ds:datastoreItem xmlns:ds="http://schemas.openxmlformats.org/officeDocument/2006/customXml" ds:itemID="{13A5538B-5199-4900-941A-B01E377F2065}">
  <ds:schemaRefs>
    <ds:schemaRef ds:uri="Strauss.PersonalizationDefinition"/>
  </ds:schemaRefs>
</ds:datastoreItem>
</file>

<file path=customXml/itemProps32.xml><?xml version="1.0" encoding="utf-8"?>
<ds:datastoreItem xmlns:ds="http://schemas.openxmlformats.org/officeDocument/2006/customXml" ds:itemID="{FBC13881-F2DC-4AA3-88C8-97C40CA1EBC7}">
  <ds:schemaRefs>
    <ds:schemaRef ds:uri="Strauss.PersonalizationDefinition"/>
  </ds:schemaRefs>
</ds:datastoreItem>
</file>

<file path=customXml/itemProps33.xml><?xml version="1.0" encoding="utf-8"?>
<ds:datastoreItem xmlns:ds="http://schemas.openxmlformats.org/officeDocument/2006/customXml" ds:itemID="{734F6CED-B619-41E0-BEDE-58B64D5F5EB2}">
  <ds:schemaRefs>
    <ds:schemaRef ds:uri="Strauss.PersonalizationDefinition"/>
  </ds:schemaRefs>
</ds:datastoreItem>
</file>

<file path=customXml/itemProps34.xml><?xml version="1.0" encoding="utf-8"?>
<ds:datastoreItem xmlns:ds="http://schemas.openxmlformats.org/officeDocument/2006/customXml" ds:itemID="{AC7687D8-5695-4F99-A8BA-1D247B418C22}">
  <ds:schemaRefs>
    <ds:schemaRef ds:uri="13ed5b9d-4ee2-45de-9ef9-3f42f8acbc62"/>
    <ds:schemaRef ds:uri="230e9df3-be65-4c73-a93b-d1236ebd677e"/>
    <ds:schemaRef ds:uri="6e5df741-9488-4b64-81e9-4a4a23490933"/>
    <ds:schemaRef ds:uri="a239a976-d8ff-4180-838f-1921746079e6"/>
    <ds:schemaRef ds:uri="afebbbb0-d9c1-42a4-ad3a-6634c725d137"/>
    <ds:schemaRef ds:uri="http://schemas.microsoft.com/office/2006/metadata/properties"/>
    <ds:schemaRef ds:uri="http://schemas.microsoft.com/office/infopath/2007/PartnerControls"/>
    <ds:schemaRef ds:uri="http://schemas.microsoft.com/sharepoint/v3"/>
  </ds:schemaRefs>
</ds:datastoreItem>
</file>

<file path=customXml/itemProps35.xml><?xml version="1.0" encoding="utf-8"?>
<ds:datastoreItem xmlns:ds="http://schemas.openxmlformats.org/officeDocument/2006/customXml" ds:itemID="{4EA01338-72BB-48B6-B6A4-05B31FE21105}">
  <ds:schemaRefs>
    <ds:schemaRef ds:uri="Strauss.PersonalizationDefinition"/>
  </ds:schemaRefs>
</ds:datastoreItem>
</file>

<file path=customXml/itemProps36.xml><?xml version="1.0" encoding="utf-8"?>
<ds:datastoreItem xmlns:ds="http://schemas.openxmlformats.org/officeDocument/2006/customXml" ds:itemID="{5C919DC8-E31E-42F0-9621-B916C2E029BA}">
  <ds:schemaRefs>
    <ds:schemaRef ds:uri="Strauss.PersonalizationDefinition"/>
  </ds:schemaRefs>
</ds:datastoreItem>
</file>

<file path=customXml/itemProps37.xml><?xml version="1.0" encoding="utf-8"?>
<ds:datastoreItem xmlns:ds="http://schemas.openxmlformats.org/officeDocument/2006/customXml" ds:itemID="{DF333A1B-0A9C-4DA8-ADAB-4378B69FDC48}">
  <ds:schemaRefs>
    <ds:schemaRef ds:uri="Strauss.PersonalizationDefinition"/>
  </ds:schemaRefs>
</ds:datastoreItem>
</file>

<file path=customXml/itemProps38.xml><?xml version="1.0" encoding="utf-8"?>
<ds:datastoreItem xmlns:ds="http://schemas.openxmlformats.org/officeDocument/2006/customXml" ds:itemID="{A09B3D8F-A36C-4B6D-871D-C53F61DFD219}">
  <ds:schemaRefs>
    <ds:schemaRef ds:uri="Strauss.PersonalizationDefinition"/>
  </ds:schemaRefs>
</ds:datastoreItem>
</file>

<file path=customXml/itemProps39.xml><?xml version="1.0" encoding="utf-8"?>
<ds:datastoreItem xmlns:ds="http://schemas.openxmlformats.org/officeDocument/2006/customXml" ds:itemID="{92C27BF9-6042-4A64-97C5-4D309EE5CA70}">
  <ds:schemaRefs>
    <ds:schemaRef ds:uri="Strauss.PersonalizationDefinition"/>
  </ds:schemaRefs>
</ds:datastoreItem>
</file>

<file path=customXml/itemProps4.xml><?xml version="1.0" encoding="utf-8"?>
<ds:datastoreItem xmlns:ds="http://schemas.openxmlformats.org/officeDocument/2006/customXml" ds:itemID="{C1060A51-5976-4775-97EE-ABE1B1E4972A}">
  <ds:schemaRefs>
    <ds:schemaRef ds:uri="Strauss.PersonalizationDefinition"/>
  </ds:schemaRefs>
</ds:datastoreItem>
</file>

<file path=customXml/itemProps40.xml><?xml version="1.0" encoding="utf-8"?>
<ds:datastoreItem xmlns:ds="http://schemas.openxmlformats.org/officeDocument/2006/customXml" ds:itemID="{46522A59-B026-4350-BB1A-BEB05240770F}">
  <ds:schemaRefs>
    <ds:schemaRef ds:uri="Strauss.PersonalizationDefinition"/>
  </ds:schemaRefs>
</ds:datastoreItem>
</file>

<file path=customXml/itemProps41.xml><?xml version="1.0" encoding="utf-8"?>
<ds:datastoreItem xmlns:ds="http://schemas.openxmlformats.org/officeDocument/2006/customXml" ds:itemID="{B8A45BCE-A4ED-47BA-BCBD-0AF6915EAA2A}">
  <ds:schemaRefs>
    <ds:schemaRef ds:uri="Strauss.PersonalizationDefinition"/>
  </ds:schemaRefs>
</ds:datastoreItem>
</file>

<file path=customXml/itemProps42.xml><?xml version="1.0" encoding="utf-8"?>
<ds:datastoreItem xmlns:ds="http://schemas.openxmlformats.org/officeDocument/2006/customXml" ds:itemID="{3FE4D4A6-5F4B-4D38-98D2-FA1ED0EA60E3}">
  <ds:schemaRefs>
    <ds:schemaRef ds:uri="Strauss.PersonalizationDefinition"/>
  </ds:schemaRefs>
</ds:datastoreItem>
</file>

<file path=customXml/itemProps43.xml><?xml version="1.0" encoding="utf-8"?>
<ds:datastoreItem xmlns:ds="http://schemas.openxmlformats.org/officeDocument/2006/customXml" ds:itemID="{49C2AC22-814D-46EF-858B-8ED581E11BB6}">
  <ds:schemaRefs>
    <ds:schemaRef ds:uri="Strauss.PersonalizationDefinition"/>
  </ds:schemaRefs>
</ds:datastoreItem>
</file>

<file path=customXml/itemProps44.xml><?xml version="1.0" encoding="utf-8"?>
<ds:datastoreItem xmlns:ds="http://schemas.openxmlformats.org/officeDocument/2006/customXml" ds:itemID="{39604808-0943-41A2-B67F-775D161B648F}">
  <ds:schemaRefs>
    <ds:schemaRef ds:uri="Strauss.PersonalizationDefinition"/>
  </ds:schemaRefs>
</ds:datastoreItem>
</file>

<file path=customXml/itemProps45.xml><?xml version="1.0" encoding="utf-8"?>
<ds:datastoreItem xmlns:ds="http://schemas.openxmlformats.org/officeDocument/2006/customXml" ds:itemID="{D5518E98-77EB-4DF5-AB8C-515F57692EFF}">
  <ds:schemaRefs>
    <ds:schemaRef ds:uri="Strauss.PersonalizationDefinition"/>
  </ds:schemaRefs>
</ds:datastoreItem>
</file>

<file path=customXml/itemProps5.xml><?xml version="1.0" encoding="utf-8"?>
<ds:datastoreItem xmlns:ds="http://schemas.openxmlformats.org/officeDocument/2006/customXml" ds:itemID="{4C485A9E-99A8-4277-BE90-E837A967DB2E}">
  <ds:schemaRefs>
    <ds:schemaRef ds:uri="Strauss.PersonalizationDefinition"/>
  </ds:schemaRefs>
</ds:datastoreItem>
</file>

<file path=customXml/itemProps6.xml><?xml version="1.0" encoding="utf-8"?>
<ds:datastoreItem xmlns:ds="http://schemas.openxmlformats.org/officeDocument/2006/customXml" ds:itemID="{712108F3-86F2-4B95-AF2D-FE4E45965FCC}">
  <ds:schemaRefs>
    <ds:schemaRef ds:uri="Strauss.PersonalizationDefinition"/>
  </ds:schemaRefs>
</ds:datastoreItem>
</file>

<file path=customXml/itemProps7.xml><?xml version="1.0" encoding="utf-8"?>
<ds:datastoreItem xmlns:ds="http://schemas.openxmlformats.org/officeDocument/2006/customXml" ds:itemID="{F520BAB8-0CF4-4C1B-BEF3-038684CAFE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ebbbb0-d9c1-42a4-ad3a-6634c725d137"/>
    <ds:schemaRef ds:uri="1e6b662e-9b08-4ccb-b10c-95b38e0268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6F485757-9F3C-4A1E-9E86-E1C1551910BA}">
  <ds:schemaRefs>
    <ds:schemaRef ds:uri="Strauss.PersonalizationDefinition"/>
  </ds:schemaRefs>
</ds:datastoreItem>
</file>

<file path=customXml/itemProps9.xml><?xml version="1.0" encoding="utf-8"?>
<ds:datastoreItem xmlns:ds="http://schemas.openxmlformats.org/officeDocument/2006/customXml" ds:itemID="{D55AC15F-0A03-4D96-AA43-65FC3DCE2717}">
  <ds:schemaRefs>
    <ds:schemaRef ds:uri="Strauss.PersonalizationDefinition"/>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86</TotalTime>
  <Words>6812</Words>
  <Application>Microsoft Office PowerPoint</Application>
  <PresentationFormat>Widescreen</PresentationFormat>
  <Paragraphs>649</Paragraphs>
  <Slides>72</Slides>
  <Notes>72</Notes>
  <HiddenSlides>1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2</vt:i4>
      </vt:variant>
    </vt:vector>
  </HeadingPairs>
  <TitlesOfParts>
    <vt:vector size="83" baseType="lpstr">
      <vt:lpstr>&amp;quot</vt:lpstr>
      <vt:lpstr>Arial</vt:lpstr>
      <vt:lpstr>Calibri</vt:lpstr>
      <vt:lpstr>Calibri Light</vt:lpstr>
      <vt:lpstr>Comic Sans MS</vt:lpstr>
      <vt:lpstr>Consolas</vt:lpstr>
      <vt:lpstr>Segoe Semibold</vt:lpstr>
      <vt:lpstr>Segoe UI</vt:lpstr>
      <vt:lpstr>Segoe UI Semibold</vt:lpstr>
      <vt:lpstr>Wingdings</vt:lpstr>
      <vt:lpstr>Dark Blue</vt:lpstr>
      <vt:lpstr>WorkshopPLUS   Power Platform for Administrators</vt:lpstr>
      <vt:lpstr>Conditions and terms of use</vt:lpstr>
      <vt:lpstr>Objectives  </vt:lpstr>
      <vt:lpstr>Fundamentals of  Power Platform governance</vt:lpstr>
      <vt:lpstr>Power Platform is Designed For Everyone</vt:lpstr>
      <vt:lpstr>Digital Transformation is Powered By People</vt:lpstr>
      <vt:lpstr>The Growing Number of Developers Creates A New Norm</vt:lpstr>
      <vt:lpstr>More Developers Require More Governance </vt:lpstr>
      <vt:lpstr>Power Platform Empowers IT Admins with Governance Capabilities</vt:lpstr>
      <vt:lpstr>Governance – Practically Applied</vt:lpstr>
      <vt:lpstr>Introduction to Center of Excellence (CoE) Starter Kit</vt:lpstr>
      <vt:lpstr>What is Center of Excellence Starter Kit?</vt:lpstr>
      <vt:lpstr>Better together</vt:lpstr>
      <vt:lpstr>How to use the CoE Starter Kit alongside the product?</vt:lpstr>
      <vt:lpstr>Building Blocks</vt:lpstr>
      <vt:lpstr>Admin Components - Core</vt:lpstr>
      <vt:lpstr>Governance Components – Audit &amp; Compliance</vt:lpstr>
      <vt:lpstr>Nurture Components - Learning</vt:lpstr>
      <vt:lpstr>Standalone Add-ons</vt:lpstr>
      <vt:lpstr>Innovation Backlog - Ideas</vt:lpstr>
      <vt:lpstr>ALM Accelerator for Power Platform (AA4PP)</vt:lpstr>
      <vt:lpstr>Administration Planning</vt:lpstr>
      <vt:lpstr>Power Platform Hub</vt:lpstr>
      <vt:lpstr>Documentation</vt:lpstr>
      <vt:lpstr>GitHub Repo</vt:lpstr>
      <vt:lpstr>Setup Prerequisites</vt:lpstr>
      <vt:lpstr>Installing Updates</vt:lpstr>
      <vt:lpstr>Extending Starter Kit</vt:lpstr>
      <vt:lpstr>Extending Starter Kit - What components can I customize?</vt:lpstr>
      <vt:lpstr>Limitations</vt:lpstr>
      <vt:lpstr>Core Solution Deep Dive</vt:lpstr>
      <vt:lpstr>Inventory – Sync Templates</vt:lpstr>
      <vt:lpstr>CoE Kit BYODL - Self-serve analytics architecture (Preview)</vt:lpstr>
      <vt:lpstr>CoE Kit BYODL - Self-serve analytics architecture (Preview)</vt:lpstr>
      <vt:lpstr>Dataverse Tables</vt:lpstr>
      <vt:lpstr>Sync Templates – Cleanup Flows</vt:lpstr>
      <vt:lpstr>Environment Variables</vt:lpstr>
      <vt:lpstr>Security Roles</vt:lpstr>
      <vt:lpstr>Power Platform Admin View</vt:lpstr>
      <vt:lpstr>Compliance Detail Request </vt:lpstr>
      <vt:lpstr>Compliance Detail Request – Initiated by Admin  </vt:lpstr>
      <vt:lpstr>DLP Impact Analysis</vt:lpstr>
      <vt:lpstr>CoE Admin Command Center</vt:lpstr>
      <vt:lpstr>CoE Maker Command Center</vt:lpstr>
      <vt:lpstr>Environment Request</vt:lpstr>
      <vt:lpstr>Admin – Environment Request</vt:lpstr>
      <vt:lpstr>App Catalog</vt:lpstr>
      <vt:lpstr>Welcome Email</vt:lpstr>
      <vt:lpstr>Get Power Apps and Flow events from Office 365 Audit Log</vt:lpstr>
      <vt:lpstr>Admin | Audit Logs | Office 365 Management API Subscription</vt:lpstr>
      <vt:lpstr>Admin | Audit Logs | Sync Audit Logs (V2)</vt:lpstr>
      <vt:lpstr>Admin | Audit Logs | Load events from exported Audit Log CSV file</vt:lpstr>
      <vt:lpstr>Environment Variables</vt:lpstr>
      <vt:lpstr>CoE Power BI Dashboards</vt:lpstr>
      <vt:lpstr>CoE Dashboard</vt:lpstr>
      <vt:lpstr>CoE Governance Dashboard</vt:lpstr>
      <vt:lpstr>Administration Planning</vt:lpstr>
      <vt:lpstr>Configure Power BI Dashboards</vt:lpstr>
      <vt:lpstr>Report examples of  Power BI Dashboard</vt:lpstr>
      <vt:lpstr>Overview – Apps, Flows, Chatbots </vt:lpstr>
      <vt:lpstr>Environments</vt:lpstr>
      <vt:lpstr>Microsoft Teams Environments</vt:lpstr>
      <vt:lpstr>Apps</vt:lpstr>
      <vt:lpstr>Cloud Flows</vt:lpstr>
      <vt:lpstr>App / Flow Connections</vt:lpstr>
      <vt:lpstr>App and Flow Risk Assessment</vt:lpstr>
      <vt:lpstr>App License Assessment</vt:lpstr>
      <vt:lpstr>App, Flow and Desktop Flow Archive</vt:lpstr>
      <vt:lpstr>Questions?</vt:lpstr>
      <vt:lpstr>LAB – CoE Starter Kit Core and Audit Log solutions</vt:lpstr>
      <vt:lpstr>LAB – CoE Starter Kit Power BI Dashboard</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ike O'Neill</dc:creator>
  <cp:lastModifiedBy>Pete Puustinen</cp:lastModifiedBy>
  <cp:revision>6</cp:revision>
  <dcterms:created xsi:type="dcterms:W3CDTF">2019-02-08T20:09:46Z</dcterms:created>
  <dcterms:modified xsi:type="dcterms:W3CDTF">2024-04-25T14:1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894FC83E0D2D145AC061E7B85D76DFA</vt:lpwstr>
  </property>
  <property fmtid="{D5CDD505-2E9C-101B-9397-08002B2CF9AE}" pid="12" name="_dlc_DocIdItemGuid">
    <vt:lpwstr>faeaa986-2e78-4567-bd40-f1286550cf24</vt:lpwstr>
  </property>
  <property fmtid="{D5CDD505-2E9C-101B-9397-08002B2CF9AE}" pid="13" name="MediaServiceImageTags">
    <vt:lpwstr/>
  </property>
  <property fmtid="{D5CDD505-2E9C-101B-9397-08002B2CF9AE}" pid="14" name="Order">
    <vt:r8>154400</vt:r8>
  </property>
  <property fmtid="{D5CDD505-2E9C-101B-9397-08002B2CF9AE}" pid="15" name="xd_Signature">
    <vt:bool>false</vt:bool>
  </property>
  <property fmtid="{D5CDD505-2E9C-101B-9397-08002B2CF9AE}" pid="16" name="xd_ProgID">
    <vt:lpwstr/>
  </property>
  <property fmtid="{D5CDD505-2E9C-101B-9397-08002B2CF9AE}" pid="17" name="_ColorHex">
    <vt:lpwstr/>
  </property>
  <property fmtid="{D5CDD505-2E9C-101B-9397-08002B2CF9AE}" pid="18" name="_Emoji">
    <vt:lpwstr/>
  </property>
  <property fmtid="{D5CDD505-2E9C-101B-9397-08002B2CF9AE}" pid="19" name="ComplianceAssetId">
    <vt:lpwstr/>
  </property>
  <property fmtid="{D5CDD505-2E9C-101B-9397-08002B2CF9AE}" pid="20" name="TemplateUrl">
    <vt:lpwstr/>
  </property>
  <property fmtid="{D5CDD505-2E9C-101B-9397-08002B2CF9AE}" pid="21" name="_ExtendedDescription">
    <vt:lpwstr/>
  </property>
  <property fmtid="{D5CDD505-2E9C-101B-9397-08002B2CF9AE}" pid="22" name="_ColorTag">
    <vt:lpwstr/>
  </property>
  <property fmtid="{D5CDD505-2E9C-101B-9397-08002B2CF9AE}" pid="23" name="TriggerFlowInfo">
    <vt:lpwstr/>
  </property>
</Properties>
</file>